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8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9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908" r:id="rId4"/>
    <p:sldMasterId id="2147483919" r:id="rId5"/>
    <p:sldMasterId id="2147483958" r:id="rId6"/>
    <p:sldMasterId id="2147483977" r:id="rId7"/>
    <p:sldMasterId id="2147483994" r:id="rId8"/>
    <p:sldMasterId id="2147484011" r:id="rId9"/>
    <p:sldMasterId id="2147484026" r:id="rId10"/>
    <p:sldMasterId id="2147484056" r:id="rId11"/>
    <p:sldMasterId id="2147484071" r:id="rId12"/>
    <p:sldMasterId id="2147484086" r:id="rId13"/>
  </p:sldMasterIdLst>
  <p:notesMasterIdLst>
    <p:notesMasterId r:id="rId15"/>
  </p:notesMasterIdLst>
  <p:sldIdLst>
    <p:sldId id="306" r:id="rId14"/>
  </p:sldIdLst>
  <p:sldSz cx="9906000" cy="6858000" type="A4"/>
  <p:notesSz cx="6807200" cy="9939338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143" userDrawn="1">
          <p15:clr>
            <a:srgbClr val="A4A3A4"/>
          </p15:clr>
        </p15:guide>
        <p15:guide id="3" orient="horz" pos="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ユーザー名不明1" initials="ユーザー名不明1" lastIdx="20" clrIdx="0">
    <p:extLst>
      <p:ext uri="{19B8F6BF-5375-455C-9EA6-DF929625EA0E}">
        <p15:presenceInfo xmlns:p15="http://schemas.microsoft.com/office/powerpoint/2012/main" userId="S::miteshima@tohmatsu.co.jp::4ce32794-bca9-4413-b02a-c3d46948b2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84E"/>
    <a:srgbClr val="009C89"/>
    <a:srgbClr val="D5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rgbClr val="00000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83" autoAdjust="0"/>
    <p:restoredTop sz="91351" autoAdjust="0"/>
  </p:normalViewPr>
  <p:slideViewPr>
    <p:cSldViewPr showGuides="1">
      <p:cViewPr>
        <p:scale>
          <a:sx n="125" d="100"/>
          <a:sy n="125" d="100"/>
        </p:scale>
        <p:origin x="678" y="90"/>
      </p:cViewPr>
      <p:guideLst>
        <p:guide pos="3143"/>
        <p:guide orient="horz" pos="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5004"/>
    </p:cViewPr>
  </p:sorterViewPr>
  <p:notesViewPr>
    <p:cSldViewPr showGuides="1">
      <p:cViewPr varScale="1">
        <p:scale>
          <a:sx n="44" d="100"/>
          <a:sy n="44" d="100"/>
        </p:scale>
        <p:origin x="2780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1312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4/3/1</a:t>
            </a:fld>
            <a:endParaRPr kumimoji="1" lang="ja-JP" altLang="en-US"/>
          </a:p>
        </p:txBody>
      </p:sp>
      <p:sp>
        <p:nvSpPr>
          <p:cNvPr id="1313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/>
          </a:p>
        </p:txBody>
      </p:sp>
      <p:sp>
        <p:nvSpPr>
          <p:cNvPr id="1314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315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1316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1.bin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.xml"/><Relationship Id="rId4" Type="http://schemas.openxmlformats.org/officeDocument/2006/relationships/image" Target="../media/image2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.xml"/><Relationship Id="rId5" Type="http://schemas.openxmlformats.org/officeDocument/2006/relationships/image" Target="../media/image27.png"/><Relationship Id="rId4" Type="http://schemas.openxmlformats.org/officeDocument/2006/relationships/image" Target="../media/image2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.xml"/><Relationship Id="rId4" Type="http://schemas.openxmlformats.org/officeDocument/2006/relationships/image" Target="../media/image25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9.xml"/><Relationship Id="rId4" Type="http://schemas.openxmlformats.org/officeDocument/2006/relationships/image" Target="../media/image25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0.xml"/><Relationship Id="rId4" Type="http://schemas.openxmlformats.org/officeDocument/2006/relationships/image" Target="../media/image25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1.xml"/><Relationship Id="rId4" Type="http://schemas.openxmlformats.org/officeDocument/2006/relationships/image" Target="../media/image25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2.xml"/><Relationship Id="rId4" Type="http://schemas.openxmlformats.org/officeDocument/2006/relationships/image" Target="../media/image25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.xml"/><Relationship Id="rId4" Type="http://schemas.openxmlformats.org/officeDocument/2006/relationships/image" Target="../media/image25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.xml"/><Relationship Id="rId4" Type="http://schemas.openxmlformats.org/officeDocument/2006/relationships/image" Target="../media/image25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7" Type="http://schemas.openxmlformats.org/officeDocument/2006/relationships/image" Target="../media/image29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5.xml"/><Relationship Id="rId6" Type="http://schemas.openxmlformats.org/officeDocument/2006/relationships/image" Target="../media/image28.png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2.bin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7" Type="http://schemas.openxmlformats.org/officeDocument/2006/relationships/image" Target="../media/image31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6.xml"/><Relationship Id="rId6" Type="http://schemas.openxmlformats.org/officeDocument/2006/relationships/image" Target="../media/image30.png"/><Relationship Id="rId5" Type="http://schemas.openxmlformats.org/officeDocument/2006/relationships/image" Target="../media/image27.png"/><Relationship Id="rId4" Type="http://schemas.openxmlformats.org/officeDocument/2006/relationships/image" Target="../media/image25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7" Type="http://schemas.openxmlformats.org/officeDocument/2006/relationships/image" Target="../media/image29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7.xml"/><Relationship Id="rId6" Type="http://schemas.openxmlformats.org/officeDocument/2006/relationships/image" Target="../media/image28.png"/><Relationship Id="rId5" Type="http://schemas.openxmlformats.org/officeDocument/2006/relationships/image" Target="../media/image32.png"/><Relationship Id="rId4" Type="http://schemas.openxmlformats.org/officeDocument/2006/relationships/image" Target="../media/image25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7" Type="http://schemas.openxmlformats.org/officeDocument/2006/relationships/image" Target="../media/image31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8.xml"/><Relationship Id="rId6" Type="http://schemas.openxmlformats.org/officeDocument/2006/relationships/image" Target="../media/image30.png"/><Relationship Id="rId5" Type="http://schemas.openxmlformats.org/officeDocument/2006/relationships/image" Target="../media/image33.png"/><Relationship Id="rId4" Type="http://schemas.openxmlformats.org/officeDocument/2006/relationships/image" Target="../media/image25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22.bin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4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23.bin"/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24.bin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25.bin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26.bin"/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27.bin"/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28.bin"/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3.bin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29.bin"/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30.bin"/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31.bin"/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32.bin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34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33.bin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3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34.bin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6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35.bin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7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jpe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4.bin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5.jpeg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5.bin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6.bin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7.bin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9.bin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0.bin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1.bin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2.bin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4.bin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5.bin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6.bin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7.bin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8.bin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9.bin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0.bin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1.bin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2.bin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4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3.bin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4.bin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5.bin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6.bin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7.bin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8.bin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39.bin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40.bin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41.bin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5.bin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.bin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6" Type="http://schemas.openxmlformats.org/officeDocument/2006/relationships/image" Target="../media/image11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0.bin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1.bin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2.bin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3.bin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4.bin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.bin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5.bin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6.bin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7.bin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8.bin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69.bin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0.bin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1.bin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2.bin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4.png"/><Relationship Id="rId4" Type="http://schemas.openxmlformats.org/officeDocument/2006/relationships/image" Target="../media/image2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3.bin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5.png"/><Relationship Id="rId4" Type="http://schemas.openxmlformats.org/officeDocument/2006/relationships/image" Target="../media/image3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4.bin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4.pn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.bin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5.bin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7.bin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6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8.bin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79.bin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0.bin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1.bin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2.bin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3.bin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4.bin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5.bin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9.bin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6.bin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7.bin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8.bin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3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89.bin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90.bin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7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0.bin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7" Type="http://schemas.openxmlformats.org/officeDocument/2006/relationships/image" Target="../media/image24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.xml"/><Relationship Id="rId6" Type="http://schemas.openxmlformats.org/officeDocument/2006/relationships/image" Target="../media/image23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2.xml"/><Relationship Id="rId6" Type="http://schemas.openxmlformats.org/officeDocument/2006/relationships/image" Target="../media/image22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7" Type="http://schemas.openxmlformats.org/officeDocument/2006/relationships/image" Target="../media/image24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.xml"/><Relationship Id="rId6" Type="http://schemas.openxmlformats.org/officeDocument/2006/relationships/image" Target="../media/image23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2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3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3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3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37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038" name="図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1039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2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94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95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96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50688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97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81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38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5884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1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00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588955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87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DE35F903-A8D6-AD94-DD1F-C08BD0BBB79F}"/>
              </a:ext>
            </a:extLst>
          </p:cNvPr>
          <p:cNvSpPr txBox="1"/>
          <p:nvPr userDrawn="1"/>
        </p:nvSpPr>
        <p:spPr>
          <a:xfrm>
            <a:off x="9393910" y="6444044"/>
            <a:ext cx="5996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lang="ja-JP" altLang="en-US" sz="1800" smtClean="0"/>
              <a:pPr/>
              <a:t>‹#›</a:t>
            </a:fld>
            <a:endParaRPr kumimoji="1" lang="ja-JP" altLang="en-US" sz="1633" dirty="0">
              <a:solidFill>
                <a:prstClr val="black"/>
              </a:solidFill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004763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280898920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4100361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06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8136237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09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9996858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77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768E43BC-0429-414C-BDAF-442F6FEE1F8D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784D5B73-DF9C-49AC-94A2-96EF6F33C2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 descr="ロゴ&#10;&#10;自動的に生成された説明">
              <a:extLst>
                <a:ext uri="{FF2B5EF4-FFF2-40B4-BE49-F238E27FC236}">
                  <a16:creationId xmlns:a16="http://schemas.microsoft.com/office/drawing/2014/main" id="{2A7BE88D-698D-4275-913C-25ED99C187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7575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8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9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100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102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10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04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05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35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BC01E31-FA0D-4317-BEE4-0E7AC224A8DA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6" name="図 5" descr="ロゴ, 会社名&#10;&#10;自動的に生成された説明">
              <a:extLst>
                <a:ext uri="{FF2B5EF4-FFF2-40B4-BE49-F238E27FC236}">
                  <a16:creationId xmlns:a16="http://schemas.microsoft.com/office/drawing/2014/main" id="{EA662424-EC38-41B4-918D-98953BBCEA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4E9F735-0942-4324-8416-52F209B106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273562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47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B36E57AE-29F9-4712-8987-82A80AFD3A34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" name="図 10" descr="ロゴ, 会社名&#10;&#10;自動的に生成された説明">
              <a:extLst>
                <a:ext uri="{FF2B5EF4-FFF2-40B4-BE49-F238E27FC236}">
                  <a16:creationId xmlns:a16="http://schemas.microsoft.com/office/drawing/2014/main" id="{9CECCB90-F4A1-4210-BB80-AAC8707383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4" name="図 13" descr="ロゴ&#10;&#10;自動的に生成された説明">
              <a:extLst>
                <a:ext uri="{FF2B5EF4-FFF2-40B4-BE49-F238E27FC236}">
                  <a16:creationId xmlns:a16="http://schemas.microsoft.com/office/drawing/2014/main" id="{7B97852A-6CC9-45C0-9ED4-7C5966E19C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309516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68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D7282F61-E2C8-4F11-8BDA-2196A084EFB0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5" name="図 14" descr="ロゴ, 会社名&#10;&#10;自動的に生成された説明">
              <a:extLst>
                <a:ext uri="{FF2B5EF4-FFF2-40B4-BE49-F238E27FC236}">
                  <a16:creationId xmlns:a16="http://schemas.microsoft.com/office/drawing/2014/main" id="{6EA7DDA3-D213-4851-A8D2-17E7E3D76D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877E095A-DB76-42C9-A055-084103BA96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715481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3" name="オブジェクト 8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33" name="オブジェクト 8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35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36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37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38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039" name="図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1040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491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オブジェクト 16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42" name="オブジェクト 16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3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4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4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4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47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973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9" name="オブジェクト 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49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5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5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53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54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055" name="図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1056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0616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8" name="オブジェクト 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58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6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6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62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63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2704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5" name="オブジェクト 36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65" name="オブジェクト 36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6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067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06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39455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0" name="オブジェクト 40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70" name="オブジェクト 40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1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73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7AF20B23-55EC-E3DA-EFD6-896FF5259E89}"/>
              </a:ext>
            </a:extLst>
          </p:cNvPr>
          <p:cNvSpPr txBox="1"/>
          <p:nvPr userDrawn="1"/>
        </p:nvSpPr>
        <p:spPr>
          <a:xfrm>
            <a:off x="9393910" y="6444044"/>
            <a:ext cx="5996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lang="ja-JP" altLang="en-US" sz="1800" smtClean="0"/>
              <a:pPr/>
              <a:t>‹#›</a:t>
            </a:fld>
            <a:endParaRPr kumimoji="1" lang="ja-JP" altLang="en-US" sz="1633" dirty="0">
              <a:solidFill>
                <a:prstClr val="black"/>
              </a:solidFill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089710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オブジェクト 44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75" name="オブジェクト 44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1078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966999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7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1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111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12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0" name="オブジェクト 48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80" name="オブジェクト 48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1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8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84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4397112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6" name="オブジェクト 5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86" name="オブジェクト 5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88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90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91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92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93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7913982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5" name="オブジェクト 6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95" name="オブジェクト 6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98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9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00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690919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2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02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3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104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05" name="図 1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1106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107" name="グループ化 5"/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08" name="図 3" descr="ロゴ, 会社名_x000a__x000a_自動的に生成された説明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109" name="図 4" descr="ロゴ_x000a__x000a_自動的に生成された説明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4801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1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11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2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13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14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1115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116" name="グループ化 9"/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117" name="図 5" descr="ロゴ, 会社名_x000a__x000a_自動的に生成された説明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118" name="図 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16826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0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2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1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122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23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124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125" name="グループ化 8"/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26" name="図 10" descr="ロゴ, 会社名_x000a__x000a_自動的に生成された説明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127" name="図 13" descr="ロゴ_x000a__x000a_自動的に生成された説明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61253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9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29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0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31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32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1133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134" name="グループ化 11"/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135" name="図 14" descr="ロゴ, 会社名_x000a__x000a_自動的に生成された説明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136" name="図 15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847838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11" y="359099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975" tIns="37487" rIns="74975" bIns="374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312" dirty="0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7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5878" y="1359899"/>
            <a:ext cx="1796217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80" y="2714142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2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904"/>
              </a:spcBef>
              <a:buFontTx/>
            </a:pPr>
            <a:r>
              <a:rPr kumimoji="1" lang="ja-JP" altLang="en-US" dirty="0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tabLst>
                <a:tab pos="2842915" algn="l"/>
              </a:tabLst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r>
              <a:rPr kumimoji="1" lang="ja-JP" altLang="en-US" dirty="0"/>
              <a:t>年</a:t>
            </a:r>
            <a:r>
              <a:rPr kumimoji="1" lang="en-US" altLang="ja-JP" dirty="0"/>
              <a:t>00</a:t>
            </a:r>
            <a:r>
              <a:rPr kumimoji="1" lang="ja-JP" altLang="en-US" dirty="0"/>
              <a:t>月</a:t>
            </a:r>
            <a:r>
              <a:rPr kumimoji="1" lang="en-US" altLang="ja-JP" dirty="0"/>
              <a:t>00</a:t>
            </a:r>
            <a:r>
              <a:rPr kumimoji="1" lang="ja-JP" altLang="en-US" dirty="0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208247059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11" y="359099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975" tIns="37487" rIns="74975" bIns="374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312" dirty="0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80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904"/>
              </a:spcBef>
              <a:buFontTx/>
            </a:pPr>
            <a:r>
              <a:rPr kumimoji="1" lang="ja-JP" altLang="en-US" dirty="0"/>
              <a:t>中扉タイト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568145" y="652719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96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31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99751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4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476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9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76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9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09195" indent="-609195" algn="l">
              <a:lnSpc>
                <a:spcPct val="100000"/>
              </a:lnSpc>
              <a:spcBef>
                <a:spcPts val="819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tabLst>
                <a:tab pos="1468984" algn="l"/>
              </a:tabLst>
              <a:defRPr sz="3266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6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568145" y="652719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96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31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0894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4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5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116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17" name="図 1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1118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119" name="図 3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4" y="196674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476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5" y="1007809"/>
            <a:ext cx="9605952" cy="57845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34305" indent="-234305" algn="l">
              <a:lnSpc>
                <a:spcPct val="100000"/>
              </a:lnSpc>
              <a:spcBef>
                <a:spcPts val="492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568145" y="652719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96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31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86872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（リードなし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4" y="196674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476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DC1EFC7-2DDB-493D-C4BE-1C7488C91C41}"/>
              </a:ext>
            </a:extLst>
          </p:cNvPr>
          <p:cNvSpPr txBox="1"/>
          <p:nvPr userDrawn="1"/>
        </p:nvSpPr>
        <p:spPr>
          <a:xfrm>
            <a:off x="9549552" y="6525344"/>
            <a:ext cx="5996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lang="ja-JP" altLang="en-US" sz="1800" smtClean="0"/>
              <a:pPr/>
              <a:t>‹#›</a:t>
            </a:fld>
            <a:endParaRPr kumimoji="1" lang="ja-JP" altLang="en-US" sz="1633" dirty="0">
              <a:solidFill>
                <a:prstClr val="black"/>
              </a:solidFill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25585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5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148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4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476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476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968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5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148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9" name="コンテンツ プレースホルダー 3">
            <a:extLst>
              <a:ext uri="{FF2B5EF4-FFF2-40B4-BE49-F238E27FC236}">
                <a16:creationId xmlns:a16="http://schemas.microsoft.com/office/drawing/2014/main" id="{EDF4FE31-3A07-443C-9CD8-C81650AD9D2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50025" y="1007809"/>
            <a:ext cx="9605952" cy="57845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34305" indent="-234305" algn="l">
              <a:lnSpc>
                <a:spcPct val="100000"/>
              </a:lnSpc>
              <a:spcBef>
                <a:spcPts val="492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568145" y="652719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96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31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54979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（リードなし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5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148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4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476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476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968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5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148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568145" y="652719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96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31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3487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通常（タイトル細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50025" y="73152"/>
            <a:ext cx="9657896" cy="645331"/>
            <a:chOff x="111919" y="300775"/>
            <a:chExt cx="10424028" cy="711358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26730"/>
              <a:ext cx="9961283" cy="405535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476"/>
            </a:p>
          </p:txBody>
        </p: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36827" y="278135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968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9" name="コンテンツ プレースホルダー 3">
            <a:extLst>
              <a:ext uri="{FF2B5EF4-FFF2-40B4-BE49-F238E27FC236}">
                <a16:creationId xmlns:a16="http://schemas.microsoft.com/office/drawing/2014/main" id="{EDF4FE31-3A07-443C-9CD8-C81650AD9D2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50025" y="1007809"/>
            <a:ext cx="9605952" cy="57954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34305" indent="-234305" algn="l">
              <a:lnSpc>
                <a:spcPct val="100000"/>
              </a:lnSpc>
              <a:spcBef>
                <a:spcPts val="492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64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568145" y="652719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96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31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139634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（タイトル細・リードなし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50025" y="73152"/>
            <a:ext cx="9657896" cy="645331"/>
            <a:chOff x="111919" y="300775"/>
            <a:chExt cx="10424028" cy="711358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26730"/>
              <a:ext cx="9961283" cy="405535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476"/>
            </a:p>
          </p:txBody>
        </p: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36827" y="278135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968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568145" y="652719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96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31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035753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5" y="172146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50024" y="531391"/>
            <a:ext cx="9605986" cy="449899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 anchor="t" anchorCtr="0">
            <a:spAutoFit/>
          </a:bodyPr>
          <a:lstStyle>
            <a:lvl1pPr marL="156204" indent="-156204" algn="l">
              <a:lnSpc>
                <a:spcPct val="100000"/>
              </a:lnSpc>
              <a:spcBef>
                <a:spcPts val="492"/>
              </a:spcBef>
              <a:buFont typeface="Wingdings" panose="05000000000000000000" pitchFamily="2" charset="2"/>
              <a:buChar char="n"/>
              <a:defRPr sz="127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リードリードリードリードリードリードリードリード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94402" y="137951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568145" y="652719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96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31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98450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赤色の吹出しに示した選択肢の中から選択して記載</a:t>
            </a:r>
            <a:endParaRPr kumimoji="1" lang="en-US" altLang="ja-JP" dirty="0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内容を説明</a:t>
            </a:r>
            <a:endParaRPr kumimoji="1" lang="en-US" altLang="ja-JP" dirty="0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目的を箇条書きで記載。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</a:p>
          <a:p>
            <a:pPr lvl="0"/>
            <a:endParaRPr kumimoji="1" lang="en-US" altLang="ja-JP" dirty="0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【</a:t>
            </a:r>
            <a:r>
              <a:rPr kumimoji="1" lang="ja-JP" altLang="en-US" dirty="0"/>
              <a:t>令和２年度要求額 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（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）</a:t>
            </a:r>
            <a:r>
              <a:rPr kumimoji="1" lang="en-US" altLang="ja-JP" dirty="0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ポイントを簡潔に記載</a:t>
            </a:r>
          </a:p>
        </p:txBody>
      </p:sp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/>
              <a:t>補助対象、支援対象の例、事業イメージ </a:t>
            </a:r>
            <a:r>
              <a:rPr kumimoji="1" lang="en-US" altLang="ja-JP" dirty="0"/>
              <a:t>etc.</a:t>
            </a:r>
            <a:endParaRPr kumimoji="1" lang="ja-JP" altLang="en-US" dirty="0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選　　　 択</a:t>
            </a:r>
            <a:endParaRPr kumimoji="1" lang="en-US" altLang="ja-JP" dirty="0"/>
          </a:p>
        </p:txBody>
      </p:sp>
      <p:pic>
        <p:nvPicPr>
          <p:cNvPr id="40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86154" y="132844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460508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 rot="10800000">
            <a:off x="366811" y="359099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975" tIns="37487" rIns="74975" bIns="374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312" dirty="0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4893" y="3120327"/>
            <a:ext cx="1796217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039619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1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2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23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24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1125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126" name="図 5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853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8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9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130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31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132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133" name="図 11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5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6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37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38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1139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140" name="図 11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478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補足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7" name="オブジェクト 5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5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8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15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6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補足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</a:p>
        </p:txBody>
      </p:sp>
      <p:sp>
        <p:nvSpPr>
          <p:cNvPr id="1151" name="テキスト プレースホルダー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5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65211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補足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4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157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ja-JP" altLang="en-US" sz="1400" baseline="0" dirty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kumimoji="1" lang="ja-JP" altLang="en-US" dirty="0"/>
              <a:t>補足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>
              <a:spcBef>
                <a:spcPts val="0"/>
              </a:spcBef>
            </a:pPr>
            <a:endParaRPr kumimoji="1" lang="ja-JP" altLang="en-US" dirty="0"/>
          </a:p>
        </p:txBody>
      </p:sp>
      <p:sp>
        <p:nvSpPr>
          <p:cNvPr id="115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44000"/>
            <a:ext cx="4356000" cy="4356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15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60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274589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補足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2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4" name="フッター プレースホルダ 10"/>
          <p:cNvSpPr>
            <a:spLocks noGrp="1"/>
          </p:cNvSpPr>
          <p:nvPr>
            <p:ph type="ftr" sz="quarter" idx="14"/>
          </p:nvPr>
        </p:nvSpPr>
        <p:spPr bwMode="gray">
          <a:xfrm>
            <a:off x="705000" y="6588000"/>
            <a:ext cx="4068000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165" name="テキスト プレースホルダ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9580"/>
            <a:ext cx="9072000" cy="4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ja-JP" altLang="en-US" sz="1400" baseline="0" dirty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kumimoji="1" lang="ja-JP" altLang="en-US" dirty="0"/>
              <a:t>補足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>
              <a:spcBef>
                <a:spcPts val="0"/>
              </a:spcBef>
            </a:pPr>
            <a:endParaRPr kumimoji="1" lang="ja-JP" altLang="en-US" dirty="0"/>
          </a:p>
        </p:txBody>
      </p:sp>
      <p:sp>
        <p:nvSpPr>
          <p:cNvPr id="116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944000"/>
            <a:ext cx="4356000" cy="4356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167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32388" y="1944000"/>
            <a:ext cx="4356000" cy="4356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168" name="テキスト プレースホルダー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70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69" name="テキスト プレースホルダー 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132388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70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98751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1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2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43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4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4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46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補足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2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74" name="フッター プレースホルダ 9"/>
          <p:cNvSpPr>
            <a:spLocks noGrp="1"/>
          </p:cNvSpPr>
          <p:nvPr>
            <p:ph type="ftr" sz="quarter" idx="11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17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ja-JP" altLang="en-US" sz="1400" baseline="0" dirty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kumimoji="1" lang="ja-JP" altLang="en-US" dirty="0"/>
              <a:t>補足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>
              <a:spcBef>
                <a:spcPts val="0"/>
              </a:spcBef>
            </a:pPr>
            <a:endParaRPr kumimoji="1" lang="ja-JP" altLang="en-US" dirty="0"/>
          </a:p>
        </p:txBody>
      </p:sp>
      <p:sp>
        <p:nvSpPr>
          <p:cNvPr id="117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599" y="1944000"/>
            <a:ext cx="9072000" cy="4356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4pPr>
            <a:lvl5pPr marL="504000" indent="0"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  <a:endParaRPr lang="en-US" altLang="ja-JP" dirty="0"/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  <a:endParaRPr lang="en-US" altLang="ja-JP" dirty="0"/>
          </a:p>
        </p:txBody>
      </p:sp>
      <p:sp>
        <p:nvSpPr>
          <p:cNvPr id="1177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78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248587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7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88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18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19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191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192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93" name="図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1194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846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6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7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19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19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200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201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1228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3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4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205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206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207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208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209" name="図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1210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197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2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3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21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21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21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217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974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9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0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22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222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750672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4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5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227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954674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0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1232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29535328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4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5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237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238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15581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0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1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24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244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04341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8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5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5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52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53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054" name="図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1055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6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249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250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251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472816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3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4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255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257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25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259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260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245829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62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265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266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267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31004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69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70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271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272" name="図 1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1273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274" name="図 3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326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6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77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278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279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1280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281" name="図 5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99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3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4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285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286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287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288" name="図 11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7856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0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1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292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293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1294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295" name="図 11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185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7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8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129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30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301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</p:txBody>
      </p:sp>
      <p:sp>
        <p:nvSpPr>
          <p:cNvPr id="1302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2262392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4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  <a:endParaRPr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307" name="フッター プレースホルダ 9"/>
          <p:cNvSpPr>
            <a:spLocks noGrp="1"/>
          </p:cNvSpPr>
          <p:nvPr>
            <p:ph type="ftr" sz="quarter" idx="11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30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09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277097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499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300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7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8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5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6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61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62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63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7079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721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543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57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64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85147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479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047677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>
          <a:xfrm>
            <a:off x="705600" y="6579035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4650919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621ED47-E023-9C68-A8CD-30886E92F957}"/>
              </a:ext>
            </a:extLst>
          </p:cNvPr>
          <p:cNvSpPr txBox="1"/>
          <p:nvPr userDrawn="1"/>
        </p:nvSpPr>
        <p:spPr>
          <a:xfrm>
            <a:off x="9393910" y="6444044"/>
            <a:ext cx="5996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lang="ja-JP" altLang="en-US" sz="1800" smtClean="0"/>
              <a:pPr/>
              <a:t>‹#›</a:t>
            </a:fld>
            <a:endParaRPr kumimoji="1" lang="ja-JP" altLang="en-US" sz="1633" dirty="0">
              <a:solidFill>
                <a:prstClr val="black"/>
              </a:solidFill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41873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902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662963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39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317555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190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14850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066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067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81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892717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9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4" name="図 3" descr="ロゴ, 会社名&#10;&#10;自動的に生成された説明">
            <a:extLst>
              <a:ext uri="{FF2B5EF4-FFF2-40B4-BE49-F238E27FC236}">
                <a16:creationId xmlns:a16="http://schemas.microsoft.com/office/drawing/2014/main" id="{784D5B73-DF9C-49AC-94A2-96EF6F33C2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378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340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6" name="図 5" descr="ロゴ, 会社名&#10;&#10;自動的に生成された説明">
            <a:extLst>
              <a:ext uri="{FF2B5EF4-FFF2-40B4-BE49-F238E27FC236}">
                <a16:creationId xmlns:a16="http://schemas.microsoft.com/office/drawing/2014/main" id="{EA662424-EC38-41B4-918D-98953BBCEA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5997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586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4770B572-0E41-4F38-9C69-20D76FA470A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6277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900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D2BBA463-2249-4A4A-80B9-2AD3548196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5802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2" name="オブジェクト 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32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3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3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3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37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038" name="図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1039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483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1" name="オブジェクト 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41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2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43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4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4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46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67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8" name="オブジェクト 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48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5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5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52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53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054" name="図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1055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325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7" name="オブジェクト 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57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8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5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6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61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62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744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64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066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067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91306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9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0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72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9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69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0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72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7479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4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74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5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1077" name="フッター プレースホルダ 6"/>
          <p:cNvSpPr>
            <a:spLocks noGrp="1"/>
          </p:cNvSpPr>
          <p:nvPr>
            <p:ph type="ftr" sz="quarter" idx="12"/>
          </p:nvPr>
        </p:nvSpPr>
        <p:spPr bwMode="gray">
          <a:xfrm>
            <a:off x="705600" y="6579035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42226537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9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79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0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82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83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77AEE526-A045-A180-7797-1DABC07D5666}"/>
              </a:ext>
            </a:extLst>
          </p:cNvPr>
          <p:cNvSpPr txBox="1"/>
          <p:nvPr userDrawn="1"/>
        </p:nvSpPr>
        <p:spPr>
          <a:xfrm>
            <a:off x="9393910" y="6444044"/>
            <a:ext cx="5996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lang="ja-JP" altLang="en-US" sz="1800" smtClean="0"/>
              <a:pPr/>
              <a:t>‹#›</a:t>
            </a:fld>
            <a:endParaRPr kumimoji="1" lang="ja-JP" altLang="en-US" sz="1633" dirty="0">
              <a:solidFill>
                <a:prstClr val="black"/>
              </a:solidFill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819232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5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85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6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8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89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944265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オブジェクト 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91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2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94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95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96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307861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8" name="オブジェクト 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98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9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100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102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10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04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05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0114259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7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07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1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111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12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416152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4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14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5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116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17" name="図 1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1118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119" name="図 3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388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1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21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2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23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24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1125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126" name="図 5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3902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8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28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9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130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31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132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133" name="図 11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0990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4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5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1077" name="フッター プレースホルダ 6"/>
          <p:cNvSpPr>
            <a:spLocks noGrp="1"/>
          </p:cNvSpPr>
          <p:nvPr>
            <p:ph type="ftr" sz="quarter" idx="12"/>
          </p:nvPr>
        </p:nvSpPr>
        <p:spPr bwMode="gray">
          <a:xfrm>
            <a:off x="705600" y="6579035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5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35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6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37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38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1139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2. For information, contact Deloitte Tohmatsu Group.</a:t>
            </a:r>
          </a:p>
        </p:txBody>
      </p:sp>
      <p:pic>
        <p:nvPicPr>
          <p:cNvPr id="1140" name="図 11" descr="ロゴ, 会社名_x000a__x000a_自動的に生成された説明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57363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3" name="オブジェクト 8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33" name="オブジェクト 8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35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36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37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38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039" name="図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1040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732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2" name="オブジェクト 16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42" name="オブジェクト 16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3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4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4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4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47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542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9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49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0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5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5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53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54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055" name="図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1056" name="日付プレースホルダー 5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698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8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58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106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106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1062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63" name="日付プレースホルダー 5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1081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5" name="オブジェクト 36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65" name="オブジェクト 36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6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067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06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1114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0" name="オブジェクト 40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70" name="オブジェクト 40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1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73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6504E5F6-3A26-BE4C-082F-C542F4751821}"/>
              </a:ext>
            </a:extLst>
          </p:cNvPr>
          <p:cNvSpPr txBox="1"/>
          <p:nvPr userDrawn="1"/>
        </p:nvSpPr>
        <p:spPr>
          <a:xfrm>
            <a:off x="9393910" y="6444044"/>
            <a:ext cx="5996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lang="ja-JP" altLang="en-US" sz="1800" smtClean="0"/>
              <a:pPr/>
              <a:t>‹#›</a:t>
            </a:fld>
            <a:endParaRPr kumimoji="1" lang="ja-JP" altLang="en-US" sz="1633" dirty="0">
              <a:solidFill>
                <a:prstClr val="black"/>
              </a:solidFill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61359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オブジェクト 44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75" name="オブジェクト 44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6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1078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8743092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0" name="オブジェクト 48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80" name="オブジェクト 48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1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8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84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483603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6" name="オブジェクト 5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86" name="オブジェクト 5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88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90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91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92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93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23876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9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0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82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83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DD7F376-1682-B6F5-11A6-1D13976F5610}"/>
              </a:ext>
            </a:extLst>
          </p:cNvPr>
          <p:cNvSpPr txBox="1"/>
          <p:nvPr userDrawn="1"/>
        </p:nvSpPr>
        <p:spPr>
          <a:xfrm>
            <a:off x="9393910" y="6444044"/>
            <a:ext cx="5996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lang="ja-JP" altLang="en-US" sz="1800" smtClean="0"/>
              <a:pPr/>
              <a:t>‹#›</a:t>
            </a:fld>
            <a:endParaRPr kumimoji="1" lang="ja-JP" altLang="en-US" sz="1633" dirty="0">
              <a:solidFill>
                <a:prstClr val="black"/>
              </a:solidFill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5" name="オブジェクト 6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095" name="オブジェクト 6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98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9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100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3885114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2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02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3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104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05" name="図 1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1106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107" name="グループ化 5"/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08" name="図 3" descr="ロゴ, 会社名_x000a__x000a_自動的に生成された説明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109" name="図 4" descr="ロゴ_x000a__x000a_自動的に生成された説明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7974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1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11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2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13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14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1115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116" name="グループ化 9"/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117" name="図 5" descr="ロゴ, 会社名_x000a__x000a_自動的に生成された説明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118" name="図 4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148221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0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2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1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122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23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1124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125" name="グループ化 8"/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26" name="図 10" descr="ロゴ, 会社名_x000a__x000a_自動的に生成された説明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127" name="図 13" descr="ロゴ_x000a__x000a_自動的に生成された説明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052129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9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1129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0" name="テキスト ボックス 6"/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31" name="テキスト プレースホルダー 13"/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132" name="図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1133" name="Text Box 37"/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134" name="グループ化 11"/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135" name="図 14" descr="ロゴ, 会社名_x000a__x000a_自動的に生成された説明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136" name="図 15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179298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0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913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97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119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38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793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189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00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91286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5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" imgW="563" imgH="564" progId="TCLayout.ActiveDocument.1">
                  <p:embed/>
                </p:oleObj>
              </mc:Choice>
              <mc:Fallback>
                <p:oleObj name="think-cell スライド" r:id="rId2" imgW="563" imgH="564" progId="TCLayout.ActiveDocument.1">
                  <p:embed/>
                  <p:pic>
                    <p:nvPicPr>
                      <p:cNvPr id="0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6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108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089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1952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87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207E2112-79B9-82DC-1B2C-54244701B2F5}"/>
              </a:ext>
            </a:extLst>
          </p:cNvPr>
          <p:cNvSpPr txBox="1"/>
          <p:nvPr userDrawn="1"/>
        </p:nvSpPr>
        <p:spPr>
          <a:xfrm>
            <a:off x="9393910" y="6444044"/>
            <a:ext cx="5996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544"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lang="ja-JP" altLang="en-US" sz="1800" smtClean="0"/>
              <a:pPr/>
              <a:t>‹#›</a:t>
            </a:fld>
            <a:endParaRPr kumimoji="1" lang="ja-JP" altLang="en-US" sz="1633" dirty="0">
              <a:solidFill>
                <a:prstClr val="black"/>
              </a:solidFill>
              <a:latin typeface="Meiryo UI"/>
              <a:ea typeface="Meiryo U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18019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8262146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890135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06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927743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09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163752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77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768E43BC-0429-414C-BDAF-442F6FEE1F8D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784D5B73-DF9C-49AC-94A2-96EF6F33C2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 descr="ロゴ&#10;&#10;自動的に生成された説明">
              <a:extLst>
                <a:ext uri="{FF2B5EF4-FFF2-40B4-BE49-F238E27FC236}">
                  <a16:creationId xmlns:a16="http://schemas.microsoft.com/office/drawing/2014/main" id="{2A7BE88D-698D-4275-913C-25ED99C187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6174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35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BC01E31-FA0D-4317-BEE4-0E7AC224A8DA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6" name="図 5" descr="ロゴ, 会社名&#10;&#10;自動的に生成された説明">
              <a:extLst>
                <a:ext uri="{FF2B5EF4-FFF2-40B4-BE49-F238E27FC236}">
                  <a16:creationId xmlns:a16="http://schemas.microsoft.com/office/drawing/2014/main" id="{EA662424-EC38-41B4-918D-98953BBCEA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4E9F735-0942-4324-8416-52F209B106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36589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47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B36E57AE-29F9-4712-8987-82A80AFD3A34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" name="図 10" descr="ロゴ, 会社名&#10;&#10;自動的に生成された説明">
              <a:extLst>
                <a:ext uri="{FF2B5EF4-FFF2-40B4-BE49-F238E27FC236}">
                  <a16:creationId xmlns:a16="http://schemas.microsoft.com/office/drawing/2014/main" id="{9CECCB90-F4A1-4210-BB80-AAC8707383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4" name="図 13" descr="ロゴ&#10;&#10;自動的に生成された説明">
              <a:extLst>
                <a:ext uri="{FF2B5EF4-FFF2-40B4-BE49-F238E27FC236}">
                  <a16:creationId xmlns:a16="http://schemas.microsoft.com/office/drawing/2014/main" id="{7B97852A-6CC9-45C0-9ED4-7C5966E19C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71577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68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D7282F61-E2C8-4F11-8BDA-2196A084EFB0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5" name="図 14" descr="ロゴ, 会社名&#10;&#10;自動的に生成された説明">
              <a:extLst>
                <a:ext uri="{FF2B5EF4-FFF2-40B4-BE49-F238E27FC236}">
                  <a16:creationId xmlns:a16="http://schemas.microsoft.com/office/drawing/2014/main" id="{6EA7DDA3-D213-4851-A8D2-17E7E3D76D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877E095A-DB76-42C9-A055-084103BA96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276252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0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702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18.bin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oleObject" Target="../embeddings/oleObject23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oleObject" Target="../embeddings/oleObject42.bin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oleObject" Target="../embeddings/oleObject59.bin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72.xml"/><Relationship Id="rId16" Type="http://schemas.openxmlformats.org/officeDocument/2006/relationships/oleObject" Target="../embeddings/oleObject76.bin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oleObject" Target="../embeddings/oleObject91.bin"/><Relationship Id="rId2" Type="http://schemas.openxmlformats.org/officeDocument/2006/relationships/slideLayout" Target="../slideLayouts/slideLayout86.xml"/><Relationship Id="rId16" Type="http://schemas.openxmlformats.org/officeDocument/2006/relationships/tags" Target="../tags/tag19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image" Target="../media/image25.emf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oleObject" Target="../embeddings/oleObject106.bin"/><Relationship Id="rId2" Type="http://schemas.openxmlformats.org/officeDocument/2006/relationships/slideLayout" Target="../slideLayouts/slideLayout100.xml"/><Relationship Id="rId16" Type="http://schemas.openxmlformats.org/officeDocument/2006/relationships/tags" Target="../tags/tag34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4.xml"/><Relationship Id="rId16" Type="http://schemas.openxmlformats.org/officeDocument/2006/relationships/oleObject" Target="../embeddings/oleObject121.bin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5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8" imgW="563" imgH="564" progId="TCLayout.ActiveDocument.1">
                  <p:embed/>
                </p:oleObj>
              </mc:Choice>
              <mc:Fallback>
                <p:oleObj name="think-cell スライド" r:id="rId18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027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1029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030" name="日付プレースホルダー 4"/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36" r:id="rId8"/>
    <p:sldLayoutId id="2147483953" r:id="rId9"/>
    <p:sldLayoutId id="2147483937" r:id="rId10"/>
    <p:sldLayoutId id="2147483938" r:id="rId11"/>
    <p:sldLayoutId id="2147483939" r:id="rId12"/>
    <p:sldLayoutId id="2147483954" r:id="rId13"/>
    <p:sldLayoutId id="2147483955" r:id="rId14"/>
    <p:sldLayoutId id="2147483956" r:id="rId15"/>
    <p:sldLayoutId id="2147483957" r:id="rId16"/>
  </p:sldLayoutIdLst>
  <p:hf sldNum="0"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5" y="945840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 dirty="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47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6802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  <p:sldLayoutId id="2147484095" r:id="rId9"/>
    <p:sldLayoutId id="2147484096" r:id="rId10"/>
    <p:sldLayoutId id="2147484097" r:id="rId11"/>
    <p:sldLayoutId id="2147484098" r:id="rId12"/>
  </p:sldLayoutIdLst>
  <p:hf sldNum="0" hdr="0" ftr="0" dt="0"/>
  <p:txStyles>
    <p:titleStyle>
      <a:lvl1pPr algn="ctr" defTabSz="826481" rtl="0" eaLnBrk="1" latinLnBrk="0" hangingPunct="1">
        <a:lnSpc>
          <a:spcPct val="90000"/>
        </a:lnSpc>
        <a:spcBef>
          <a:spcPct val="0"/>
        </a:spcBef>
        <a:buNone/>
        <a:defRPr kumimoji="1" sz="397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826481" rtl="0" eaLnBrk="1" latinLnBrk="0" hangingPunct="1">
        <a:lnSpc>
          <a:spcPct val="90000"/>
        </a:lnSpc>
        <a:spcBef>
          <a:spcPts val="904"/>
        </a:spcBef>
        <a:buFontTx/>
        <a:buNone/>
        <a:defRPr kumimoji="1" sz="253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826481" rtl="0" eaLnBrk="1" latinLnBrk="0" hangingPunct="1">
        <a:lnSpc>
          <a:spcPct val="90000"/>
        </a:lnSpc>
        <a:spcBef>
          <a:spcPts val="453"/>
        </a:spcBef>
        <a:buFontTx/>
        <a:buNone/>
        <a:defRPr kumimoji="1" sz="2169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826481" rtl="0" eaLnBrk="1" latinLnBrk="0" hangingPunct="1">
        <a:lnSpc>
          <a:spcPct val="90000"/>
        </a:lnSpc>
        <a:spcBef>
          <a:spcPts val="453"/>
        </a:spcBef>
        <a:buFontTx/>
        <a:buNone/>
        <a:defRPr kumimoji="1" sz="1807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26481" rtl="0" eaLnBrk="1" latinLnBrk="0" hangingPunct="1">
        <a:lnSpc>
          <a:spcPct val="90000"/>
        </a:lnSpc>
        <a:spcBef>
          <a:spcPts val="453"/>
        </a:spcBef>
        <a:buFontTx/>
        <a:buNone/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26481" rtl="0" eaLnBrk="1" latinLnBrk="0" hangingPunct="1">
        <a:lnSpc>
          <a:spcPct val="90000"/>
        </a:lnSpc>
        <a:spcBef>
          <a:spcPts val="453"/>
        </a:spcBef>
        <a:buFontTx/>
        <a:buNone/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5pPr>
      <a:lvl6pPr marL="2272824" indent="-206621" algn="l" defTabSz="826481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6pPr>
      <a:lvl7pPr marL="2686064" indent="-206621" algn="l" defTabSz="826481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7pPr>
      <a:lvl8pPr marL="3099305" indent="-206621" algn="l" defTabSz="826481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8pPr>
      <a:lvl9pPr marL="3512545" indent="-206621" algn="l" defTabSz="826481" rtl="0" eaLnBrk="1" latinLnBrk="0" hangingPunct="1">
        <a:lnSpc>
          <a:spcPct val="90000"/>
        </a:lnSpc>
        <a:spcBef>
          <a:spcPts val="453"/>
        </a:spcBef>
        <a:buFont typeface="Arial" panose="020B0604020202020204" pitchFamily="34" charset="0"/>
        <a:buChar char="•"/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26481" rtl="0" eaLnBrk="1" latinLnBrk="0" hangingPunct="1"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1pPr>
      <a:lvl2pPr marL="413240" algn="l" defTabSz="826481" rtl="0" eaLnBrk="1" latinLnBrk="0" hangingPunct="1"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2pPr>
      <a:lvl3pPr marL="826481" algn="l" defTabSz="826481" rtl="0" eaLnBrk="1" latinLnBrk="0" hangingPunct="1"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3pPr>
      <a:lvl4pPr marL="1239721" algn="l" defTabSz="826481" rtl="0" eaLnBrk="1" latinLnBrk="0" hangingPunct="1"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4pPr>
      <a:lvl5pPr marL="1652962" algn="l" defTabSz="826481" rtl="0" eaLnBrk="1" latinLnBrk="0" hangingPunct="1"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5pPr>
      <a:lvl6pPr marL="2066202" algn="l" defTabSz="826481" rtl="0" eaLnBrk="1" latinLnBrk="0" hangingPunct="1"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6pPr>
      <a:lvl7pPr marL="2479445" algn="l" defTabSz="826481" rtl="0" eaLnBrk="1" latinLnBrk="0" hangingPunct="1"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7pPr>
      <a:lvl8pPr marL="2892685" algn="l" defTabSz="826481" rtl="0" eaLnBrk="1" latinLnBrk="0" hangingPunct="1"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8pPr>
      <a:lvl9pPr marL="3305926" algn="l" defTabSz="826481" rtl="0" eaLnBrk="1" latinLnBrk="0" hangingPunct="1">
        <a:defRPr kumimoji="1" sz="16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7">
          <p15:clr>
            <a:srgbClr val="F26B43"/>
          </p15:clr>
        </p15:guide>
        <p15:guide id="2" orient="horz" pos="2381">
          <p15:clr>
            <a:srgbClr val="F26B43"/>
          </p15:clr>
        </p15:guide>
        <p15:guide id="3" orient="horz" pos="22">
          <p15:clr>
            <a:srgbClr val="F26B43"/>
          </p15:clr>
        </p15:guide>
        <p15:guide id="4" orient="horz" pos="4649">
          <p15:clr>
            <a:srgbClr val="F26B43"/>
          </p15:clr>
        </p15:guide>
        <p15:guide id="5" pos="6633">
          <p15:clr>
            <a:srgbClr val="F26B43"/>
          </p15:clr>
        </p15:guide>
        <p15:guide id="6" pos="10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2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63" imgH="564" progId="TCLayout.ActiveDocument.1">
                  <p:embed/>
                </p:oleObj>
              </mc:Choice>
              <mc:Fallback>
                <p:oleObj name="think-cell スライド" r:id="rId6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3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145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1" r:id="rId2"/>
    <p:sldLayoutId id="2147483949" r:id="rId3"/>
    <p:sldLayoutId id="2147483950" r:id="rId4"/>
  </p:sldLayoutIdLst>
  <p:hf sldNum="0"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0" name="オブジェクト 3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0" imgW="563" imgH="564" progId="TCLayout.ActiveDocument.1">
                  <p:embed/>
                </p:oleObj>
              </mc:Choice>
              <mc:Fallback>
                <p:oleObj name="think-cell スライド" r:id="rId20" imgW="563" imgH="564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81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182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1184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185" name="日付プレースホルダー 4"/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66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  <p:sldLayoutId id="2147483973" r:id="rId15"/>
    <p:sldLayoutId id="2147483974" r:id="rId16"/>
    <p:sldLayoutId id="2147483975" r:id="rId17"/>
    <p:sldLayoutId id="2147483976" r:id="rId18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9" imgW="563" imgH="564" progId="TCLayout.ActiveDocument.1">
                  <p:embed/>
                </p:oleObj>
              </mc:Choice>
              <mc:Fallback>
                <p:oleObj name="think-cell スライド" r:id="rId19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43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</p:sldLayoutIdLst>
  <p:hf sldNum="0"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5" name="オブジェクト 3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8" imgW="563" imgH="564" progId="TCLayout.ActiveDocument.1">
                  <p:embed/>
                </p:oleObj>
              </mc:Choice>
              <mc:Fallback>
                <p:oleObj name="think-cell スライド" r:id="rId18" imgW="563" imgH="564" progId="TCLayout.ActiveDocument.1">
                  <p:embed/>
                  <p:pic>
                    <p:nvPicPr>
                      <p:cNvPr id="1025" name="オブジェクト 3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027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1029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030" name="日付プレースホルダー 4"/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008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7" r:id="rId13"/>
    <p:sldLayoutId id="2147484008" r:id="rId14"/>
    <p:sldLayoutId id="2147484009" r:id="rId15"/>
    <p:sldLayoutId id="2147484010" r:id="rId16"/>
  </p:sldLayoutIdLst>
  <p:hf sldNum="0"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5" name="オブジェクト 1" hidden="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6" imgW="563" imgH="564" progId="TCLayout.ActiveDocument.1">
                  <p:embed/>
                </p:oleObj>
              </mc:Choice>
              <mc:Fallback>
                <p:oleObj name="think-cell スライド" r:id="rId16" imgW="563" imgH="564" progId="TCLayout.ActiveDocument.1">
                  <p:embed/>
                  <p:pic>
                    <p:nvPicPr>
                      <p:cNvPr id="1025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027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1029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1030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031" name="日付プレースホルダー 4"/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1911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  <p:sldLayoutId id="2147484023" r:id="rId12"/>
    <p:sldLayoutId id="2147484024" r:id="rId13"/>
    <p:sldLayoutId id="2147484025" r:id="rId14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>
          <p15:clr>
            <a:srgbClr val="A4A3A4"/>
          </p15:clr>
        </p15:guide>
        <p15:guide id="14" orient="horz" pos="640">
          <p15:clr>
            <a:srgbClr val="A4A3A4"/>
          </p15:clr>
        </p15:guide>
        <p15:guide id="15" orient="horz" pos="96">
          <p15:clr>
            <a:srgbClr val="A4A3A4"/>
          </p15:clr>
        </p15:guide>
        <p15:guide id="17" orient="horz" pos="504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5288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7" imgW="563" imgH="564" progId="TCLayout.ActiveDocument.1">
                  <p:embed/>
                </p:oleObj>
              </mc:Choice>
              <mc:Fallback>
                <p:oleObj name="think-cell スライド" r:id="rId17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062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  <p:sldLayoutId id="2147484037" r:id="rId11"/>
    <p:sldLayoutId id="2147484038" r:id="rId12"/>
    <p:sldLayoutId id="2147484039" r:id="rId13"/>
    <p:sldLayoutId id="2147484040" r:id="rId14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>
          <p15:clr>
            <a:srgbClr val="A4A3A4"/>
          </p15:clr>
        </p15:guide>
        <p15:guide id="14" orient="horz" pos="640">
          <p15:clr>
            <a:srgbClr val="A4A3A4"/>
          </p15:clr>
        </p15:guide>
        <p15:guide id="15" orient="horz" pos="96">
          <p15:clr>
            <a:srgbClr val="A4A3A4"/>
          </p15:clr>
        </p15:guide>
        <p15:guide id="17" orient="horz" pos="504">
          <p15:clr>
            <a:srgbClr val="A4A3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5288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7" imgW="563" imgH="564" progId="TCLayout.ActiveDocument.1">
                  <p:embed/>
                </p:oleObj>
              </mc:Choice>
              <mc:Fallback>
                <p:oleObj name="think-cell スライド" r:id="rId17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799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  <p:sldLayoutId id="2147484067" r:id="rId11"/>
    <p:sldLayoutId id="2147484068" r:id="rId12"/>
    <p:sldLayoutId id="2147484069" r:id="rId13"/>
    <p:sldLayoutId id="2147484070" r:id="rId14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>
          <p15:clr>
            <a:srgbClr val="A4A3A4"/>
          </p15:clr>
        </p15:guide>
        <p15:guide id="14" orient="horz" pos="640">
          <p15:clr>
            <a:srgbClr val="A4A3A4"/>
          </p15:clr>
        </p15:guide>
        <p15:guide id="15" orient="horz" pos="96">
          <p15:clr>
            <a:srgbClr val="A4A3A4"/>
          </p15:clr>
        </p15:guide>
        <p15:guide id="17" orient="horz" pos="504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5" name="オブジェクト 1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6" imgW="563" imgH="564" progId="TCLayout.ActiveDocument.1">
                  <p:embed/>
                </p:oleObj>
              </mc:Choice>
              <mc:Fallback>
                <p:oleObj name="think-cell スライド" r:id="rId16" imgW="563" imgH="564" progId="TCLayout.ActiveDocument.1">
                  <p:embed/>
                  <p:pic>
                    <p:nvPicPr>
                      <p:cNvPr id="1025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027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en-GB" altLang="en-GB"/>
              <a:t>DT Template A4</a:t>
            </a:r>
            <a:endParaRPr kumimoji="1" lang="en-GB" altLang="en-GB" dirty="0"/>
          </a:p>
        </p:txBody>
      </p:sp>
      <p:sp>
        <p:nvSpPr>
          <p:cNvPr id="1029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1030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1031" name="日付プレースホルダー 4"/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18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4" r:id="rId13"/>
    <p:sldLayoutId id="2147484085" r:id="rId14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>
          <p15:clr>
            <a:srgbClr val="A4A3A4"/>
          </p15:clr>
        </p15:guide>
        <p15:guide id="14" orient="horz" pos="640">
          <p15:clr>
            <a:srgbClr val="A4A3A4"/>
          </p15:clr>
        </p15:guide>
        <p15:guide id="15" orient="horz" pos="96">
          <p15:clr>
            <a:srgbClr val="A4A3A4"/>
          </p15:clr>
        </p15:guide>
        <p15:guide id="17" orient="horz" pos="504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47.jpeg"/><Relationship Id="rId4" Type="http://schemas.openxmlformats.org/officeDocument/2006/relationships/image" Target="../media/image4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F25250E1-C781-43F1-A94E-10A794D1A2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82466" y="265235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09" imgH="309" progId="TCLayout.ActiveDocument.1">
                  <p:embed/>
                </p:oleObj>
              </mc:Choice>
              <mc:Fallback>
                <p:oleObj name="think-cell スライド" r:id="rId3" imgW="309" imgH="309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F25250E1-C781-43F1-A94E-10A794D1A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2466" y="265235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1" descr="ç°å¢ç">
            <a:extLst>
              <a:ext uri="{FF2B5EF4-FFF2-40B4-BE49-F238E27FC236}">
                <a16:creationId xmlns:a16="http://schemas.microsoft.com/office/drawing/2014/main" id="{F88D36AD-E962-4D6B-8228-0D2C4D9A3A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77917" y="272563"/>
            <a:ext cx="512953" cy="454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2" name="テキスト ボックス 171">
            <a:extLst>
              <a:ext uri="{FF2B5EF4-FFF2-40B4-BE49-F238E27FC236}">
                <a16:creationId xmlns:a16="http://schemas.microsoft.com/office/drawing/2014/main" id="{B331E3EE-8391-4CE1-AB2D-F3F29ABE43B3}"/>
              </a:ext>
            </a:extLst>
          </p:cNvPr>
          <p:cNvSpPr txBox="1"/>
          <p:nvPr/>
        </p:nvSpPr>
        <p:spPr>
          <a:xfrm>
            <a:off x="654322" y="355306"/>
            <a:ext cx="8274462" cy="398769"/>
          </a:xfrm>
          <a:custGeom>
            <a:avLst/>
            <a:gdLst>
              <a:gd name="connsiteX0" fmla="*/ 144003 w 9161544"/>
              <a:gd name="connsiteY0" fmla="*/ 0 h 864000"/>
              <a:gd name="connsiteX1" fmla="*/ 8353561 w 9161544"/>
              <a:gd name="connsiteY1" fmla="*/ 0 h 864000"/>
              <a:gd name="connsiteX2" fmla="*/ 9161544 w 9161544"/>
              <a:gd name="connsiteY2" fmla="*/ 859589 h 864000"/>
              <a:gd name="connsiteX3" fmla="*/ 9139696 w 9161544"/>
              <a:gd name="connsiteY3" fmla="*/ 864000 h 864000"/>
              <a:gd name="connsiteX4" fmla="*/ 144003 w 9161544"/>
              <a:gd name="connsiteY4" fmla="*/ 864000 h 864000"/>
              <a:gd name="connsiteX5" fmla="*/ 0 w 9161544"/>
              <a:gd name="connsiteY5" fmla="*/ 719997 h 864000"/>
              <a:gd name="connsiteX6" fmla="*/ 0 w 9161544"/>
              <a:gd name="connsiteY6" fmla="*/ 144003 h 864000"/>
              <a:gd name="connsiteX7" fmla="*/ 144003 w 9161544"/>
              <a:gd name="connsiteY7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61544" h="864000">
                <a:moveTo>
                  <a:pt x="144003" y="0"/>
                </a:moveTo>
                <a:lnTo>
                  <a:pt x="8353561" y="0"/>
                </a:lnTo>
                <a:lnTo>
                  <a:pt x="9161544" y="859589"/>
                </a:lnTo>
                <a:lnTo>
                  <a:pt x="9139696" y="864000"/>
                </a:lnTo>
                <a:lnTo>
                  <a:pt x="144003" y="864000"/>
                </a:lnTo>
                <a:cubicBezTo>
                  <a:pt x="64472" y="864000"/>
                  <a:pt x="0" y="799528"/>
                  <a:pt x="0" y="719997"/>
                </a:cubicBezTo>
                <a:lnTo>
                  <a:pt x="0" y="144003"/>
                </a:lnTo>
                <a:cubicBezTo>
                  <a:pt x="0" y="64472"/>
                  <a:pt x="64472" y="0"/>
                  <a:pt x="144003" y="0"/>
                </a:cubicBezTo>
                <a:close/>
              </a:path>
            </a:pathLst>
          </a:custGeom>
          <a:solidFill>
            <a:srgbClr val="00584E"/>
          </a:solidFill>
          <a:ln>
            <a:noFill/>
          </a:ln>
        </p:spPr>
        <p:txBody>
          <a:bodyPr wrap="square" lIns="66462" tIns="0" rIns="66462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Yu Gothic UI"/>
                <a:ea typeface="Yu Gothic UI"/>
                <a:cs typeface="Arial" charset="0"/>
              </a:rPr>
              <a:t>（自治体名）：（</a:t>
            </a:r>
            <a:r>
              <a:rPr kumimoji="0" lang="ja-JP" altLang="en-US" sz="1600" b="1" i="0" u="none" strike="noStrike" kern="1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Yu Gothic UI"/>
                <a:ea typeface="Yu Gothic UI"/>
                <a:cs typeface="Times New Roman" panose="02020603050405020304" pitchFamily="18" charset="0"/>
              </a:rPr>
              <a:t>タイトル）</a:t>
            </a:r>
            <a:endParaRPr kumimoji="0" lang="ja-JP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Yu Gothic UI"/>
              <a:ea typeface="Yu Gothic UI"/>
              <a:cs typeface="Arial" charset="0"/>
            </a:endParaRPr>
          </a:p>
        </p:txBody>
      </p:sp>
      <p:sp>
        <p:nvSpPr>
          <p:cNvPr id="107" name="正方形/長方形 106">
            <a:extLst>
              <a:ext uri="{FF2B5EF4-FFF2-40B4-BE49-F238E27FC236}">
                <a16:creationId xmlns:a16="http://schemas.microsoft.com/office/drawing/2014/main" id="{A2468B63-D3B2-4AD8-A459-054A7DDC0887}"/>
              </a:ext>
            </a:extLst>
          </p:cNvPr>
          <p:cNvSpPr/>
          <p:nvPr/>
        </p:nvSpPr>
        <p:spPr bwMode="gray">
          <a:xfrm>
            <a:off x="4573904" y="2173257"/>
            <a:ext cx="4664064" cy="214099"/>
          </a:xfrm>
          <a:prstGeom prst="rect">
            <a:avLst/>
          </a:prstGeom>
          <a:solidFill>
            <a:srgbClr val="009C89"/>
          </a:solidFill>
          <a:ln w="12700" algn="ctr">
            <a:solidFill>
              <a:srgbClr val="0097A9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事業計画の効果・費用</a:t>
            </a:r>
          </a:p>
        </p:txBody>
      </p:sp>
      <p:sp>
        <p:nvSpPr>
          <p:cNvPr id="108" name="正方形/長方形 107">
            <a:extLst>
              <a:ext uri="{FF2B5EF4-FFF2-40B4-BE49-F238E27FC236}">
                <a16:creationId xmlns:a16="http://schemas.microsoft.com/office/drawing/2014/main" id="{10C60A6A-2C9E-485A-8201-8292969E1ECE}"/>
              </a:ext>
            </a:extLst>
          </p:cNvPr>
          <p:cNvSpPr/>
          <p:nvPr/>
        </p:nvSpPr>
        <p:spPr bwMode="gray">
          <a:xfrm>
            <a:off x="4573904" y="2391256"/>
            <a:ext cx="4664064" cy="830769"/>
          </a:xfrm>
          <a:prstGeom prst="rect">
            <a:avLst/>
          </a:prstGeom>
          <a:noFill/>
          <a:ln w="12700" algn="ctr">
            <a:solidFill>
              <a:srgbClr val="268BA6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251" marR="0" lvl="0" indent="-158251" algn="l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5578" algn="l"/>
              </a:tabLst>
              <a:defRPr/>
            </a:pPr>
            <a:endParaRPr kumimoji="1" lang="ja-JP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C591B058-F6A3-4C5F-BD84-7E5EE7C99C38}"/>
              </a:ext>
            </a:extLst>
          </p:cNvPr>
          <p:cNvSpPr/>
          <p:nvPr/>
        </p:nvSpPr>
        <p:spPr bwMode="gray">
          <a:xfrm>
            <a:off x="4673323" y="2429009"/>
            <a:ext cx="797538" cy="19938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再エネ導入</a:t>
            </a:r>
          </a:p>
        </p:txBody>
      </p:sp>
      <p:sp>
        <p:nvSpPr>
          <p:cNvPr id="110" name="正方形/長方形 109">
            <a:extLst>
              <a:ext uri="{FF2B5EF4-FFF2-40B4-BE49-F238E27FC236}">
                <a16:creationId xmlns:a16="http://schemas.microsoft.com/office/drawing/2014/main" id="{38169E36-71BF-4CF9-9F85-D3908794C2A9}"/>
              </a:ext>
            </a:extLst>
          </p:cNvPr>
          <p:cNvSpPr/>
          <p:nvPr/>
        </p:nvSpPr>
        <p:spPr bwMode="gray">
          <a:xfrm>
            <a:off x="4673323" y="2628393"/>
            <a:ext cx="797538" cy="531692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〇○</a:t>
            </a: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kW</a:t>
            </a:r>
          </a:p>
        </p:txBody>
      </p:sp>
      <p:sp>
        <p:nvSpPr>
          <p:cNvPr id="112" name="正方形/長方形 111">
            <a:extLst>
              <a:ext uri="{FF2B5EF4-FFF2-40B4-BE49-F238E27FC236}">
                <a16:creationId xmlns:a16="http://schemas.microsoft.com/office/drawing/2014/main" id="{43D54134-0C41-4A05-A912-7A5393D4BAAE}"/>
              </a:ext>
            </a:extLst>
          </p:cNvPr>
          <p:cNvSpPr/>
          <p:nvPr/>
        </p:nvSpPr>
        <p:spPr bwMode="gray">
          <a:xfrm>
            <a:off x="5570280" y="2634099"/>
            <a:ext cx="797538" cy="531692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〇〇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t-CO2</a:t>
            </a:r>
          </a:p>
        </p:txBody>
      </p:sp>
      <p:sp>
        <p:nvSpPr>
          <p:cNvPr id="133" name="正方形/長方形 132">
            <a:extLst>
              <a:ext uri="{FF2B5EF4-FFF2-40B4-BE49-F238E27FC236}">
                <a16:creationId xmlns:a16="http://schemas.microsoft.com/office/drawing/2014/main" id="{951A0F47-5F45-417F-A6D2-35C99C0DC5A3}"/>
              </a:ext>
            </a:extLst>
          </p:cNvPr>
          <p:cNvSpPr/>
          <p:nvPr/>
        </p:nvSpPr>
        <p:spPr bwMode="gray">
          <a:xfrm>
            <a:off x="5570280" y="2434715"/>
            <a:ext cx="797538" cy="19938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CO2</a:t>
            </a: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削減</a:t>
            </a:r>
          </a:p>
        </p:txBody>
      </p:sp>
      <p:sp>
        <p:nvSpPr>
          <p:cNvPr id="136" name="正方形/長方形 135">
            <a:extLst>
              <a:ext uri="{FF2B5EF4-FFF2-40B4-BE49-F238E27FC236}">
                <a16:creationId xmlns:a16="http://schemas.microsoft.com/office/drawing/2014/main" id="{F3B48A72-7716-4CCB-A5BA-F32BCD5B95BE}"/>
              </a:ext>
            </a:extLst>
          </p:cNvPr>
          <p:cNvSpPr/>
          <p:nvPr/>
        </p:nvSpPr>
        <p:spPr bwMode="gray">
          <a:xfrm>
            <a:off x="6510260" y="2434715"/>
            <a:ext cx="797538" cy="19938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事業費</a:t>
            </a:r>
          </a:p>
        </p:txBody>
      </p:sp>
      <p:sp>
        <p:nvSpPr>
          <p:cNvPr id="137" name="正方形/長方形 136">
            <a:extLst>
              <a:ext uri="{FF2B5EF4-FFF2-40B4-BE49-F238E27FC236}">
                <a16:creationId xmlns:a16="http://schemas.microsoft.com/office/drawing/2014/main" id="{EEF69386-6913-4413-98C3-DF30416460FC}"/>
              </a:ext>
            </a:extLst>
          </p:cNvPr>
          <p:cNvSpPr/>
          <p:nvPr/>
        </p:nvSpPr>
        <p:spPr bwMode="gray">
          <a:xfrm>
            <a:off x="6510259" y="2634099"/>
            <a:ext cx="797538" cy="531692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〇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億円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138" name="正方形/長方形 137">
            <a:extLst>
              <a:ext uri="{FF2B5EF4-FFF2-40B4-BE49-F238E27FC236}">
                <a16:creationId xmlns:a16="http://schemas.microsoft.com/office/drawing/2014/main" id="{67FEDDC8-0E39-4964-A1AD-32D93438B7FF}"/>
              </a:ext>
            </a:extLst>
          </p:cNvPr>
          <p:cNvSpPr/>
          <p:nvPr/>
        </p:nvSpPr>
        <p:spPr bwMode="gray">
          <a:xfrm>
            <a:off x="7450238" y="2434715"/>
            <a:ext cx="797538" cy="19938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交付金額</a:t>
            </a:r>
          </a:p>
        </p:txBody>
      </p:sp>
      <p:sp>
        <p:nvSpPr>
          <p:cNvPr id="139" name="正方形/長方形 138">
            <a:extLst>
              <a:ext uri="{FF2B5EF4-FFF2-40B4-BE49-F238E27FC236}">
                <a16:creationId xmlns:a16="http://schemas.microsoft.com/office/drawing/2014/main" id="{463B949E-C1AE-41A0-9698-7F0BEF3F2D9D}"/>
              </a:ext>
            </a:extLst>
          </p:cNvPr>
          <p:cNvSpPr/>
          <p:nvPr/>
        </p:nvSpPr>
        <p:spPr bwMode="gray">
          <a:xfrm>
            <a:off x="7450238" y="2634099"/>
            <a:ext cx="797538" cy="531692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億円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140" name="正方形/長方形 139">
            <a:extLst>
              <a:ext uri="{FF2B5EF4-FFF2-40B4-BE49-F238E27FC236}">
                <a16:creationId xmlns:a16="http://schemas.microsoft.com/office/drawing/2014/main" id="{F9BD1638-1EFE-454A-8E20-0F9C45966807}"/>
              </a:ext>
            </a:extLst>
          </p:cNvPr>
          <p:cNvSpPr/>
          <p:nvPr/>
        </p:nvSpPr>
        <p:spPr bwMode="gray">
          <a:xfrm>
            <a:off x="8390217" y="2434715"/>
            <a:ext cx="797538" cy="19938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計画期間</a:t>
            </a:r>
          </a:p>
        </p:txBody>
      </p:sp>
      <p:sp>
        <p:nvSpPr>
          <p:cNvPr id="141" name="正方形/長方形 140">
            <a:extLst>
              <a:ext uri="{FF2B5EF4-FFF2-40B4-BE49-F238E27FC236}">
                <a16:creationId xmlns:a16="http://schemas.microsoft.com/office/drawing/2014/main" id="{47889146-489A-4B96-9010-099A90668E7B}"/>
              </a:ext>
            </a:extLst>
          </p:cNvPr>
          <p:cNvSpPr/>
          <p:nvPr/>
        </p:nvSpPr>
        <p:spPr bwMode="gray">
          <a:xfrm>
            <a:off x="8390217" y="2634099"/>
            <a:ext cx="797538" cy="531692"/>
          </a:xfrm>
          <a:prstGeom prst="rect">
            <a:avLst/>
          </a:prstGeom>
          <a:noFill/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令和</a:t>
            </a:r>
            <a:r>
              <a:rPr kumimoji="1"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年度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～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令和</a:t>
            </a:r>
            <a:r>
              <a:rPr kumimoji="1"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</a:t>
            </a:r>
            <a:r>
              <a:rPr kumimoji="1" lang="ja-JP" alt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年度</a:t>
            </a:r>
            <a:endParaRPr kumimoji="1" lang="en-US" altLang="ja-JP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B2D18C57-8DDB-4565-BD17-7F193B947900}"/>
              </a:ext>
            </a:extLst>
          </p:cNvPr>
          <p:cNvCxnSpPr>
            <a:cxnSpLocks/>
          </p:cNvCxnSpPr>
          <p:nvPr/>
        </p:nvCxnSpPr>
        <p:spPr bwMode="gray">
          <a:xfrm>
            <a:off x="717928" y="5008507"/>
            <a:ext cx="279315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BC21D8FA-0D0A-4133-AA25-098EAA348CA2}"/>
              </a:ext>
            </a:extLst>
          </p:cNvPr>
          <p:cNvSpPr/>
          <p:nvPr/>
        </p:nvSpPr>
        <p:spPr bwMode="gray">
          <a:xfrm>
            <a:off x="803920" y="4772628"/>
            <a:ext cx="2708308" cy="23757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取組</a:t>
            </a:r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cxnSp>
        <p:nvCxnSpPr>
          <p:cNvPr id="43" name="直線コネクタ 42">
            <a:extLst>
              <a:ext uri="{FF2B5EF4-FFF2-40B4-BE49-F238E27FC236}">
                <a16:creationId xmlns:a16="http://schemas.microsoft.com/office/drawing/2014/main" id="{6320ACF5-2B53-4841-AE35-43453B4CFEE9}"/>
              </a:ext>
            </a:extLst>
          </p:cNvPr>
          <p:cNvCxnSpPr>
            <a:cxnSpLocks/>
          </p:cNvCxnSpPr>
          <p:nvPr/>
        </p:nvCxnSpPr>
        <p:spPr bwMode="gray">
          <a:xfrm>
            <a:off x="3625403" y="5008507"/>
            <a:ext cx="78114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5749F0A8-5089-421C-96F1-635AEB7D5DB0}"/>
              </a:ext>
            </a:extLst>
          </p:cNvPr>
          <p:cNvSpPr/>
          <p:nvPr/>
        </p:nvSpPr>
        <p:spPr bwMode="gray">
          <a:xfrm>
            <a:off x="3815335" y="4772628"/>
            <a:ext cx="351212" cy="23757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規模</a:t>
            </a:r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170" name="正方形/長方形 169">
            <a:extLst>
              <a:ext uri="{FF2B5EF4-FFF2-40B4-BE49-F238E27FC236}">
                <a16:creationId xmlns:a16="http://schemas.microsoft.com/office/drawing/2014/main" id="{FE6D8000-C43A-4E3D-AFA0-EF33DCCBF69E}"/>
              </a:ext>
            </a:extLst>
          </p:cNvPr>
          <p:cNvSpPr/>
          <p:nvPr/>
        </p:nvSpPr>
        <p:spPr bwMode="gray">
          <a:xfrm>
            <a:off x="4573904" y="3295879"/>
            <a:ext cx="4664064" cy="214098"/>
          </a:xfrm>
          <a:prstGeom prst="rect">
            <a:avLst/>
          </a:prstGeom>
          <a:solidFill>
            <a:srgbClr val="009C89"/>
          </a:solidFill>
          <a:ln w="12700" algn="ctr">
            <a:solidFill>
              <a:srgbClr val="0097A9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取組のイメージ</a:t>
            </a:r>
          </a:p>
        </p:txBody>
      </p:sp>
      <p:sp>
        <p:nvSpPr>
          <p:cNvPr id="173" name="正方形/長方形 172">
            <a:extLst>
              <a:ext uri="{FF2B5EF4-FFF2-40B4-BE49-F238E27FC236}">
                <a16:creationId xmlns:a16="http://schemas.microsoft.com/office/drawing/2014/main" id="{8AFB498E-0B4C-4583-87F8-7F2ED9C05995}"/>
              </a:ext>
            </a:extLst>
          </p:cNvPr>
          <p:cNvSpPr/>
          <p:nvPr/>
        </p:nvSpPr>
        <p:spPr bwMode="gray">
          <a:xfrm>
            <a:off x="4573904" y="3516655"/>
            <a:ext cx="4664064" cy="2989352"/>
          </a:xfrm>
          <a:prstGeom prst="rect">
            <a:avLst/>
          </a:prstGeom>
          <a:noFill/>
          <a:ln w="12700" algn="ctr">
            <a:solidFill>
              <a:srgbClr val="268BA6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58251" marR="0" lvl="0" indent="-158251" algn="l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5578" algn="l"/>
              </a:tabLst>
              <a:defRPr/>
            </a:pPr>
            <a:endParaRPr kumimoji="1" lang="ja-JP" altLang="en-US" sz="110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441F30E8-FF39-4EC9-8371-55C717CC6268}"/>
              </a:ext>
            </a:extLst>
          </p:cNvPr>
          <p:cNvSpPr/>
          <p:nvPr/>
        </p:nvSpPr>
        <p:spPr bwMode="gray">
          <a:xfrm>
            <a:off x="3580340" y="4929039"/>
            <a:ext cx="76583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カ所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〇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kW</a:t>
            </a: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D3A9613D-40C2-4F65-A807-3FDB9D7F20B3}"/>
              </a:ext>
            </a:extLst>
          </p:cNvPr>
          <p:cNvSpPr/>
          <p:nvPr/>
        </p:nvSpPr>
        <p:spPr bwMode="gray">
          <a:xfrm>
            <a:off x="3598998" y="2806355"/>
            <a:ext cx="765830" cy="28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17F728DA-0F95-4083-AF14-1466CB8991F3}"/>
              </a:ext>
            </a:extLst>
          </p:cNvPr>
          <p:cNvSpPr/>
          <p:nvPr/>
        </p:nvSpPr>
        <p:spPr bwMode="gray">
          <a:xfrm>
            <a:off x="3575581" y="5877799"/>
            <a:ext cx="76583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カ所</a:t>
            </a: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942168C6-00B2-40A1-9786-EFBF14B0D137}"/>
              </a:ext>
            </a:extLst>
          </p:cNvPr>
          <p:cNvSpPr/>
          <p:nvPr/>
        </p:nvSpPr>
        <p:spPr bwMode="gray">
          <a:xfrm>
            <a:off x="712383" y="5885838"/>
            <a:ext cx="280800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〇〇〇の導入</a:t>
            </a: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A03BDE47-D4B8-4A59-BC56-D599BD0F28A4}"/>
              </a:ext>
            </a:extLst>
          </p:cNvPr>
          <p:cNvSpPr/>
          <p:nvPr/>
        </p:nvSpPr>
        <p:spPr bwMode="gray">
          <a:xfrm>
            <a:off x="695033" y="4887042"/>
            <a:ext cx="280800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〇〇〇の導入</a:t>
            </a: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6084A13B-A4B3-410F-8408-127713EFE16B}"/>
              </a:ext>
            </a:extLst>
          </p:cNvPr>
          <p:cNvSpPr/>
          <p:nvPr/>
        </p:nvSpPr>
        <p:spPr bwMode="gray">
          <a:xfrm>
            <a:off x="744817" y="4584915"/>
            <a:ext cx="280800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55BCE39C-944C-42F6-ACC8-10D374A3FF76}"/>
              </a:ext>
            </a:extLst>
          </p:cNvPr>
          <p:cNvSpPr/>
          <p:nvPr/>
        </p:nvSpPr>
        <p:spPr bwMode="gray">
          <a:xfrm>
            <a:off x="705499" y="2951989"/>
            <a:ext cx="280800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〇〇〇の導入</a:t>
            </a: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F4FB49DD-E55A-426C-8B9D-FAC2569B4FDE}"/>
              </a:ext>
            </a:extLst>
          </p:cNvPr>
          <p:cNvSpPr/>
          <p:nvPr/>
        </p:nvSpPr>
        <p:spPr bwMode="gray">
          <a:xfrm>
            <a:off x="3542517" y="3051100"/>
            <a:ext cx="765830" cy="40055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カ所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cxnSp>
        <p:nvCxnSpPr>
          <p:cNvPr id="46" name="直線コネクタ 45">
            <a:extLst>
              <a:ext uri="{FF2B5EF4-FFF2-40B4-BE49-F238E27FC236}">
                <a16:creationId xmlns:a16="http://schemas.microsoft.com/office/drawing/2014/main" id="{DE208FBC-87F0-496C-AB18-B904FE7EA1F9}"/>
              </a:ext>
            </a:extLst>
          </p:cNvPr>
          <p:cNvCxnSpPr>
            <a:cxnSpLocks/>
          </p:cNvCxnSpPr>
          <p:nvPr/>
        </p:nvCxnSpPr>
        <p:spPr bwMode="gray">
          <a:xfrm flipH="1">
            <a:off x="697768" y="3038031"/>
            <a:ext cx="367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線コネクタ 46">
            <a:extLst>
              <a:ext uri="{FF2B5EF4-FFF2-40B4-BE49-F238E27FC236}">
                <a16:creationId xmlns:a16="http://schemas.microsoft.com/office/drawing/2014/main" id="{AFB057BE-4A96-4B7B-84F2-C64758CD2FE4}"/>
              </a:ext>
            </a:extLst>
          </p:cNvPr>
          <p:cNvCxnSpPr>
            <a:cxnSpLocks/>
          </p:cNvCxnSpPr>
          <p:nvPr/>
        </p:nvCxnSpPr>
        <p:spPr bwMode="gray">
          <a:xfrm flipH="1">
            <a:off x="744817" y="5445224"/>
            <a:ext cx="367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3C4077A1-848D-46E5-87DD-ADC454612BB6}"/>
              </a:ext>
            </a:extLst>
          </p:cNvPr>
          <p:cNvSpPr/>
          <p:nvPr/>
        </p:nvSpPr>
        <p:spPr bwMode="gray">
          <a:xfrm>
            <a:off x="701207" y="2521141"/>
            <a:ext cx="280800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〇〇〇の導入</a:t>
            </a: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BA9607D0-A48A-44BD-9A2E-755322C08827}"/>
              </a:ext>
            </a:extLst>
          </p:cNvPr>
          <p:cNvSpPr/>
          <p:nvPr/>
        </p:nvSpPr>
        <p:spPr bwMode="gray">
          <a:xfrm>
            <a:off x="3540047" y="2515648"/>
            <a:ext cx="76583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カ所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〇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kW</a:t>
            </a: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E5DB999A-6DF3-D166-EAE2-BD6A1435FB09}"/>
              </a:ext>
            </a:extLst>
          </p:cNvPr>
          <p:cNvSpPr/>
          <p:nvPr/>
        </p:nvSpPr>
        <p:spPr bwMode="gray">
          <a:xfrm>
            <a:off x="670939" y="2173257"/>
            <a:ext cx="3788299" cy="214099"/>
          </a:xfrm>
          <a:prstGeom prst="rect">
            <a:avLst/>
          </a:prstGeom>
          <a:solidFill>
            <a:srgbClr val="009C89"/>
          </a:solidFill>
          <a:ln w="12700" algn="ctr">
            <a:solidFill>
              <a:srgbClr val="0097A9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事業計画の概要（民間）</a:t>
            </a:r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AF2042C4-7690-54B5-DC15-4A36D325D2C5}"/>
              </a:ext>
            </a:extLst>
          </p:cNvPr>
          <p:cNvSpPr/>
          <p:nvPr/>
        </p:nvSpPr>
        <p:spPr bwMode="gray">
          <a:xfrm>
            <a:off x="670939" y="2390563"/>
            <a:ext cx="3788299" cy="4112134"/>
          </a:xfrm>
          <a:prstGeom prst="rect">
            <a:avLst/>
          </a:prstGeom>
          <a:noFill/>
          <a:ln w="12700" algn="ctr">
            <a:solidFill>
              <a:srgbClr val="268BA6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65578" algn="l"/>
              </a:tabLst>
              <a:defRPr/>
            </a:pPr>
            <a:endParaRPr kumimoji="1" lang="ja-JP" altLang="en-US" sz="110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B6152953-7D9E-6464-F7A6-A61CD43C1222}"/>
              </a:ext>
            </a:extLst>
          </p:cNvPr>
          <p:cNvCxnSpPr>
            <a:cxnSpLocks/>
          </p:cNvCxnSpPr>
          <p:nvPr/>
        </p:nvCxnSpPr>
        <p:spPr bwMode="gray">
          <a:xfrm>
            <a:off x="679137" y="2635573"/>
            <a:ext cx="279315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D279E7C0-2CCC-BB62-68BA-5AC2EDA34584}"/>
              </a:ext>
            </a:extLst>
          </p:cNvPr>
          <p:cNvSpPr/>
          <p:nvPr/>
        </p:nvSpPr>
        <p:spPr bwMode="gray">
          <a:xfrm>
            <a:off x="765129" y="2399694"/>
            <a:ext cx="2708308" cy="23757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取組（個人）</a:t>
            </a:r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6A646122-752F-524F-59AB-2205A22EFD21}"/>
              </a:ext>
            </a:extLst>
          </p:cNvPr>
          <p:cNvCxnSpPr>
            <a:cxnSpLocks/>
          </p:cNvCxnSpPr>
          <p:nvPr/>
        </p:nvCxnSpPr>
        <p:spPr bwMode="gray">
          <a:xfrm>
            <a:off x="3586612" y="2635573"/>
            <a:ext cx="78114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EDBFB732-988B-35F8-94D2-0212C0FE81DC}"/>
              </a:ext>
            </a:extLst>
          </p:cNvPr>
          <p:cNvSpPr/>
          <p:nvPr/>
        </p:nvSpPr>
        <p:spPr bwMode="gray">
          <a:xfrm>
            <a:off x="3776544" y="2399694"/>
            <a:ext cx="351212" cy="23757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規模</a:t>
            </a:r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129066A8-CA3F-ED9D-6934-6995191EC649}"/>
              </a:ext>
            </a:extLst>
          </p:cNvPr>
          <p:cNvCxnSpPr>
            <a:cxnSpLocks/>
          </p:cNvCxnSpPr>
          <p:nvPr/>
        </p:nvCxnSpPr>
        <p:spPr bwMode="gray">
          <a:xfrm>
            <a:off x="3522470" y="2453721"/>
            <a:ext cx="24018" cy="40489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53FE706A-BD72-3321-759F-02124A39B08D}"/>
              </a:ext>
            </a:extLst>
          </p:cNvPr>
          <p:cNvSpPr/>
          <p:nvPr/>
        </p:nvSpPr>
        <p:spPr bwMode="gray">
          <a:xfrm>
            <a:off x="677268" y="4537060"/>
            <a:ext cx="3788299" cy="214099"/>
          </a:xfrm>
          <a:prstGeom prst="rect">
            <a:avLst/>
          </a:prstGeom>
          <a:solidFill>
            <a:srgbClr val="009C89"/>
          </a:solidFill>
          <a:ln w="12700" algn="ctr">
            <a:solidFill>
              <a:srgbClr val="0097A9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事業計画の概要（公共）</a:t>
            </a:r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478C9144-CA79-2E4B-38CF-408C7DA1488F}"/>
              </a:ext>
            </a:extLst>
          </p:cNvPr>
          <p:cNvSpPr/>
          <p:nvPr/>
        </p:nvSpPr>
        <p:spPr bwMode="gray">
          <a:xfrm>
            <a:off x="3390596" y="2215803"/>
            <a:ext cx="1013545" cy="144000"/>
          </a:xfrm>
          <a:prstGeom prst="rect">
            <a:avLst/>
          </a:prstGeom>
          <a:noFill/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ja-JP" altLang="en-US" sz="8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：〇〇</a:t>
            </a:r>
            <a:r>
              <a:rPr kumimoji="1" lang="en-US" altLang="ja-JP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kW</a:t>
            </a:r>
          </a:p>
        </p:txBody>
      </p: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79BB3762-0786-F920-9960-02D60C856784}"/>
              </a:ext>
            </a:extLst>
          </p:cNvPr>
          <p:cNvSpPr/>
          <p:nvPr/>
        </p:nvSpPr>
        <p:spPr bwMode="gray">
          <a:xfrm>
            <a:off x="3411073" y="4569425"/>
            <a:ext cx="1013545" cy="144000"/>
          </a:xfrm>
          <a:prstGeom prst="rect">
            <a:avLst/>
          </a:prstGeom>
          <a:noFill/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1" lang="ja-JP" altLang="en-US" sz="8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エネ：〇〇</a:t>
            </a:r>
            <a:r>
              <a:rPr kumimoji="1" lang="en-US" altLang="ja-JP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kW</a:t>
            </a:r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45D62517-F328-ECBC-A1EE-9A588CE1FA3C}"/>
              </a:ext>
            </a:extLst>
          </p:cNvPr>
          <p:cNvSpPr/>
          <p:nvPr/>
        </p:nvSpPr>
        <p:spPr bwMode="gray">
          <a:xfrm>
            <a:off x="670939" y="805927"/>
            <a:ext cx="4282061" cy="209163"/>
          </a:xfrm>
          <a:prstGeom prst="rect">
            <a:avLst/>
          </a:prstGeom>
          <a:solidFill>
            <a:srgbClr val="009C89"/>
          </a:solidFill>
          <a:ln w="12700" algn="ctr">
            <a:solidFill>
              <a:srgbClr val="0097A9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事業計画の特徴</a:t>
            </a:r>
          </a:p>
        </p:txBody>
      </p:sp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B767FD5F-AF50-C953-FA4F-F49BA86EBF61}"/>
              </a:ext>
            </a:extLst>
          </p:cNvPr>
          <p:cNvSpPr/>
          <p:nvPr/>
        </p:nvSpPr>
        <p:spPr bwMode="gray">
          <a:xfrm>
            <a:off x="670939" y="1021070"/>
            <a:ext cx="4282061" cy="1060694"/>
          </a:xfrm>
          <a:prstGeom prst="rect">
            <a:avLst/>
          </a:prstGeom>
          <a:noFill/>
          <a:ln w="12700" algn="ctr">
            <a:solidFill>
              <a:srgbClr val="268BA6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33231" rIns="0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>
              <a:lnSpc>
                <a:spcPts val="1500"/>
              </a:lnSpc>
              <a:spcBef>
                <a:spcPts val="300"/>
              </a:spcBef>
              <a:tabLst>
                <a:tab pos="268288" algn="l"/>
              </a:tabLst>
              <a:defRPr/>
            </a:pPr>
            <a:r>
              <a:rPr lang="ja-JP" altLang="en-US" sz="1400" kern="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　</a:t>
            </a:r>
            <a:endParaRPr kumimoji="0" lang="en-US" altLang="ja-JP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C0C0C0"/>
              </a:highlight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9" name="正方形/長方形 58">
            <a:extLst>
              <a:ext uri="{FF2B5EF4-FFF2-40B4-BE49-F238E27FC236}">
                <a16:creationId xmlns:a16="http://schemas.microsoft.com/office/drawing/2014/main" id="{4A3C5133-8126-D663-7F25-66EF6EBFD4B7}"/>
              </a:ext>
            </a:extLst>
          </p:cNvPr>
          <p:cNvSpPr/>
          <p:nvPr/>
        </p:nvSpPr>
        <p:spPr bwMode="gray">
          <a:xfrm>
            <a:off x="5025008" y="996919"/>
            <a:ext cx="4212000" cy="1084845"/>
          </a:xfrm>
          <a:prstGeom prst="rect">
            <a:avLst/>
          </a:prstGeom>
          <a:noFill/>
          <a:ln w="12700" algn="ctr">
            <a:solidFill>
              <a:srgbClr val="268BA6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33231" rIns="0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>
              <a:lnSpc>
                <a:spcPts val="1500"/>
              </a:lnSpc>
              <a:spcBef>
                <a:spcPts val="300"/>
              </a:spcBef>
              <a:tabLst>
                <a:tab pos="268288" algn="l"/>
              </a:tabLst>
              <a:defRPr/>
            </a:pPr>
            <a:r>
              <a:rPr lang="ja-JP" altLang="en-US" sz="1400" kern="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　 </a:t>
            </a:r>
            <a:endParaRPr lang="en-US" altLang="ja-JP" sz="1400" kern="1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  <a:p>
            <a:pPr marL="92075">
              <a:lnSpc>
                <a:spcPts val="1500"/>
              </a:lnSpc>
              <a:spcBef>
                <a:spcPts val="300"/>
              </a:spcBef>
              <a:tabLst>
                <a:tab pos="268288" algn="l"/>
              </a:tabLst>
              <a:defRPr/>
            </a:pPr>
            <a:r>
              <a:rPr lang="ja-JP" altLang="en-US" sz="1400" kern="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　</a:t>
            </a:r>
            <a:endParaRPr lang="en-US" altLang="ja-JP" sz="1400" kern="100" dirty="0"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57280E41-567A-1796-3241-AD9303A0F72B}"/>
              </a:ext>
            </a:extLst>
          </p:cNvPr>
          <p:cNvSpPr/>
          <p:nvPr/>
        </p:nvSpPr>
        <p:spPr bwMode="gray">
          <a:xfrm>
            <a:off x="5025008" y="803926"/>
            <a:ext cx="4212000" cy="240032"/>
          </a:xfrm>
          <a:prstGeom prst="rect">
            <a:avLst/>
          </a:prstGeom>
          <a:solidFill>
            <a:srgbClr val="009C89"/>
          </a:solidFill>
          <a:ln w="12700" algn="ctr">
            <a:solidFill>
              <a:srgbClr val="0097A9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07">
              <a:defRPr/>
            </a:pPr>
            <a:r>
              <a:rPr kumimoji="1" lang="ja-JP" altLang="en-US" sz="1200" b="1" dirty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の工夫・波及効果</a:t>
            </a:r>
          </a:p>
        </p:txBody>
      </p:sp>
      <p:cxnSp>
        <p:nvCxnSpPr>
          <p:cNvPr id="16" name="直線コネクタ 15">
            <a:extLst>
              <a:ext uri="{FF2B5EF4-FFF2-40B4-BE49-F238E27FC236}">
                <a16:creationId xmlns:a16="http://schemas.microsoft.com/office/drawing/2014/main" id="{19457E6B-01D6-C79C-0CE3-7BC47FB23C18}"/>
              </a:ext>
            </a:extLst>
          </p:cNvPr>
          <p:cNvCxnSpPr>
            <a:cxnSpLocks/>
          </p:cNvCxnSpPr>
          <p:nvPr/>
        </p:nvCxnSpPr>
        <p:spPr bwMode="gray">
          <a:xfrm flipH="1">
            <a:off x="697768" y="4121009"/>
            <a:ext cx="367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0FB41246-F15A-47C6-4829-66BF75D71AB1}"/>
              </a:ext>
            </a:extLst>
          </p:cNvPr>
          <p:cNvCxnSpPr>
            <a:cxnSpLocks/>
          </p:cNvCxnSpPr>
          <p:nvPr/>
        </p:nvCxnSpPr>
        <p:spPr bwMode="gray">
          <a:xfrm flipH="1">
            <a:off x="699614" y="6021288"/>
            <a:ext cx="367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43351BE7-CE71-E102-9FE8-3D00872F0B07}"/>
              </a:ext>
            </a:extLst>
          </p:cNvPr>
          <p:cNvSpPr/>
          <p:nvPr/>
        </p:nvSpPr>
        <p:spPr bwMode="gray">
          <a:xfrm>
            <a:off x="3594579" y="5410448"/>
            <a:ext cx="76583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カ所</a:t>
            </a:r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D7DAD8A3-B68E-04A1-621B-339A5851753D}"/>
              </a:ext>
            </a:extLst>
          </p:cNvPr>
          <p:cNvSpPr/>
          <p:nvPr/>
        </p:nvSpPr>
        <p:spPr bwMode="gray">
          <a:xfrm>
            <a:off x="708141" y="5410448"/>
            <a:ext cx="280800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〇〇〇の導入</a:t>
            </a: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B10C5071-0CF7-4646-64B5-98924C9A6BC2}"/>
              </a:ext>
            </a:extLst>
          </p:cNvPr>
          <p:cNvSpPr/>
          <p:nvPr/>
        </p:nvSpPr>
        <p:spPr bwMode="gray">
          <a:xfrm>
            <a:off x="696751" y="3615124"/>
            <a:ext cx="280800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〇〇〇の導入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3C7A3AAC-D4DD-B5FD-5B0D-5EB596AF4749}"/>
              </a:ext>
            </a:extLst>
          </p:cNvPr>
          <p:cNvSpPr/>
          <p:nvPr/>
        </p:nvSpPr>
        <p:spPr bwMode="gray">
          <a:xfrm>
            <a:off x="3562905" y="3745165"/>
            <a:ext cx="765830" cy="40055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カ所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E3F1505C-BEDE-6517-F424-83F818825619}"/>
              </a:ext>
            </a:extLst>
          </p:cNvPr>
          <p:cNvSpPr txBox="1"/>
          <p:nvPr/>
        </p:nvSpPr>
        <p:spPr>
          <a:xfrm>
            <a:off x="582097" y="36794"/>
            <a:ext cx="2637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重点対策加速化事業　事業概要</a:t>
            </a:r>
            <a:endParaRPr kumimoji="1" lang="ja-JP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cxnSp>
        <p:nvCxnSpPr>
          <p:cNvPr id="12" name="直線コネクタ 11">
            <a:extLst>
              <a:ext uri="{FF2B5EF4-FFF2-40B4-BE49-F238E27FC236}">
                <a16:creationId xmlns:a16="http://schemas.microsoft.com/office/drawing/2014/main" id="{DF8BFDAD-EDF3-6402-CD7B-74F8D2A67ECC}"/>
              </a:ext>
            </a:extLst>
          </p:cNvPr>
          <p:cNvCxnSpPr>
            <a:cxnSpLocks/>
          </p:cNvCxnSpPr>
          <p:nvPr/>
        </p:nvCxnSpPr>
        <p:spPr bwMode="gray">
          <a:xfrm>
            <a:off x="672807" y="3752695"/>
            <a:ext cx="279315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7A33C7D-8712-1E7B-0255-970826E067EA}"/>
              </a:ext>
            </a:extLst>
          </p:cNvPr>
          <p:cNvSpPr/>
          <p:nvPr/>
        </p:nvSpPr>
        <p:spPr bwMode="gray">
          <a:xfrm>
            <a:off x="758799" y="3516816"/>
            <a:ext cx="2708308" cy="23757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取組（事業者）</a:t>
            </a:r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F922D59D-9308-A73C-2F25-2C5A452F6F26}"/>
              </a:ext>
            </a:extLst>
          </p:cNvPr>
          <p:cNvCxnSpPr>
            <a:cxnSpLocks/>
          </p:cNvCxnSpPr>
          <p:nvPr/>
        </p:nvCxnSpPr>
        <p:spPr bwMode="gray">
          <a:xfrm>
            <a:off x="3580282" y="3752695"/>
            <a:ext cx="78114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F4AD09E0-6959-992C-7530-BFA33A7EA0C8}"/>
              </a:ext>
            </a:extLst>
          </p:cNvPr>
          <p:cNvSpPr/>
          <p:nvPr/>
        </p:nvSpPr>
        <p:spPr bwMode="gray">
          <a:xfrm>
            <a:off x="3770214" y="3516816"/>
            <a:ext cx="351212" cy="23757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3231" tIns="33231" rIns="33231" bIns="332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4400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規模</a:t>
            </a:r>
            <a:endParaRPr kumimoji="1" lang="ja-JP" alt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cxnSp>
        <p:nvCxnSpPr>
          <p:cNvPr id="24" name="直線コネクタ 23">
            <a:extLst>
              <a:ext uri="{FF2B5EF4-FFF2-40B4-BE49-F238E27FC236}">
                <a16:creationId xmlns:a16="http://schemas.microsoft.com/office/drawing/2014/main" id="{ABA41465-2085-3AA5-FB91-2BB2AA929962}"/>
              </a:ext>
            </a:extLst>
          </p:cNvPr>
          <p:cNvCxnSpPr>
            <a:cxnSpLocks/>
          </p:cNvCxnSpPr>
          <p:nvPr/>
        </p:nvCxnSpPr>
        <p:spPr bwMode="gray">
          <a:xfrm>
            <a:off x="672807" y="3504439"/>
            <a:ext cx="374662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D778C58A-C216-F5F4-FEF2-221142B8B0DD}"/>
              </a:ext>
            </a:extLst>
          </p:cNvPr>
          <p:cNvSpPr/>
          <p:nvPr/>
        </p:nvSpPr>
        <p:spPr bwMode="gray">
          <a:xfrm>
            <a:off x="698041" y="3986979"/>
            <a:ext cx="280800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〇〇〇の導入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B08FD461-9F13-A158-0FE2-3455A9770A51}"/>
              </a:ext>
            </a:extLst>
          </p:cNvPr>
          <p:cNvSpPr/>
          <p:nvPr/>
        </p:nvSpPr>
        <p:spPr bwMode="gray">
          <a:xfrm>
            <a:off x="3570411" y="4001284"/>
            <a:ext cx="765830" cy="648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カ所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〇〇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charset="0"/>
              </a:rPr>
              <a:t>kW</a:t>
            </a:r>
          </a:p>
        </p:txBody>
      </p:sp>
    </p:spTree>
    <p:extLst>
      <p:ext uri="{BB962C8B-B14F-4D97-AF65-F5344CB8AC3E}">
        <p14:creationId xmlns:p14="http://schemas.microsoft.com/office/powerpoint/2010/main" val="37826086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gray">
        <a:custGeom>
          <a:avLst/>
          <a:gdLst/>
          <a:ahLst/>
          <a:cxnLst/>
          <a:rect l="l" t="t" r="r" b="b"/>
          <a:pathLst/>
        </a:custGeom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vertOverflow="overflow" horzOverflow="overflow" wrap="square" lIns="0" tIns="0" rIns="0" bIns="0" numCol="1" spcCol="0" rtlCol="0" fromWordArt="0" anchor="ctr" anchorCtr="0" forceAA="0" compatLnSpc="1"/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custGeom>
          <a:avLst/>
          <a:gdLst/>
          <a:ahLst/>
          <a:cxnLst/>
          <a:rect l="l" t="t" r="r" b="b"/>
          <a:pathLst/>
        </a:custGeom>
        <a:ln w="12700"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地球局所管事項説明資料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T Template_A4_J_202201_補足版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gray">
        <a:custGeom>
          <a:avLst/>
          <a:gdLst/>
          <a:ahLst/>
          <a:cxnLst/>
          <a:rect l="l" t="t" r="r" b="b"/>
          <a:pathLst/>
        </a:custGeom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vertOverflow="overflow" horzOverflow="overflow" wrap="square" lIns="0" tIns="0" rIns="0" bIns="0" numCol="1" spcCol="0" rtlCol="0" fromWordArt="0" anchor="ctr" anchorCtr="0" forceAA="0" compatLnSpc="1"/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custGeom>
          <a:avLst/>
          <a:gdLst/>
          <a:ahLst/>
          <a:cxnLst/>
          <a:rect l="l" t="t" r="r" b="b"/>
          <a:pathLst/>
        </a:custGeom>
        <a:ln w="12700"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gray">
        <a:custGeom>
          <a:avLst/>
          <a:gdLst/>
          <a:ahLst/>
          <a:cxnLst/>
          <a:rect l="l" t="t" r="r" b="b"/>
          <a:pathLst/>
        </a:custGeom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vertOverflow="overflow" horzOverflow="overflow" wrap="square" lIns="0" tIns="0" rIns="0" bIns="0" numCol="1" spcCol="0" rtlCol="0" fromWordArt="0" anchor="ctr" anchorCtr="0" forceAA="0" compatLnSpc="1"/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custGeom>
          <a:avLst/>
          <a:gdLst/>
          <a:ahLst/>
          <a:cxnLst/>
          <a:rect l="l" t="t" r="r" b="b"/>
          <a:pathLst/>
        </a:custGeom>
        <a:ln w="12700"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20220411_最新_DTテンプレート　【A4版】.pptx" id="{5603B681-7E36-40F4-9F20-6D85D586622A}" vid="{29D29DD6-4EE9-4D52-ABBC-C989986DE326}"/>
    </a:ext>
  </a:extLst>
</a:theme>
</file>

<file path=ppt/theme/theme5.xml><?xml version="1.0" encoding="utf-8"?>
<a:theme xmlns:a="http://schemas.openxmlformats.org/drawingml/2006/main" name="3_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gray">
        <a:custGeom>
          <a:avLst/>
          <a:gdLst/>
          <a:ahLst/>
          <a:cxnLst/>
          <a:rect l="l" t="t" r="r" b="b"/>
          <a:pathLst/>
        </a:custGeom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vertOverflow="overflow" horzOverflow="overflow" wrap="square" lIns="0" tIns="0" rIns="0" bIns="0" numCol="1" spcCol="0" rtlCol="0" fromWordArt="0" anchor="ctr" anchorCtr="0" forceAA="0" compatLnSpc="1"/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custGeom>
          <a:avLst/>
          <a:gdLst/>
          <a:ahLst/>
          <a:cxnLst/>
          <a:rect l="l" t="t" r="r" b="b"/>
          <a:pathLst/>
        </a:custGeom>
        <a:ln w="12700"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gray">
        <a:custGeom>
          <a:avLst/>
          <a:gdLst/>
          <a:ahLst/>
          <a:cxnLst/>
          <a:rect l="l" t="t" r="r" b="b"/>
          <a:pathLst/>
        </a:custGeom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vertOverflow="overflow" horzOverflow="overflow" wrap="square" lIns="0" tIns="0" rIns="0" bIns="0" numCol="1" spcCol="0" rtlCol="0" fromWordArt="0" anchor="ctr" anchorCtr="0" forceAA="0" compatLnSpc="1"/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custGeom>
          <a:avLst/>
          <a:gdLst/>
          <a:ahLst/>
          <a:cxnLst/>
          <a:rect l="l" t="t" r="r" b="b"/>
          <a:pathLst/>
        </a:custGeom>
        <a:ln w="12700"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5" id="{7643B430-A339-46FF-903F-B3FE58275DA5}" vid="{895C710B-DDBD-4953-8A30-50E977EEB606}"/>
    </a:ext>
  </a:extLst>
</a:theme>
</file>

<file path=ppt/theme/theme8.xml><?xml version="1.0" encoding="utf-8"?>
<a:theme xmlns:a="http://schemas.openxmlformats.org/drawingml/2006/main" name="3_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5" id="{7643B430-A339-46FF-903F-B3FE58275DA5}" vid="{895C710B-DDBD-4953-8A30-50E977EEB606}"/>
    </a:ext>
  </a:extLst>
</a:theme>
</file>

<file path=ppt/theme/theme9.xml><?xml version="1.0" encoding="utf-8"?>
<a:theme xmlns:a="http://schemas.openxmlformats.org/drawingml/2006/main" name="4_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gray">
        <a:custGeom>
          <a:avLst/>
          <a:gdLst/>
          <a:ahLst/>
          <a:cxnLst/>
          <a:rect l="l" t="t" r="r" b="b"/>
          <a:pathLst/>
        </a:custGeom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vertOverflow="overflow" horzOverflow="overflow" wrap="square" lIns="0" tIns="0" rIns="0" bIns="0" numCol="1" spcCol="0" rtlCol="0" fromWordArt="0" anchor="ctr" anchorCtr="0" forceAA="0" compatLnSpc="1"/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custGeom>
          <a:avLst/>
          <a:gdLst/>
          <a:ahLst/>
          <a:cxnLst/>
          <a:rect l="l" t="t" r="r" b="b"/>
          <a:pathLst/>
        </a:custGeom>
        <a:ln w="12700"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1d17dcb-5c9d-4e46-9aef-4af11db5eee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CC053B52A426F543B8393C8E75B8A2CF" ma:contentTypeVersion="12" ma:contentTypeDescription="新しいドキュメントを作成します。" ma:contentTypeScope="" ma:versionID="00a6dd60115898ce52f3992fa8d33116">
  <xsd:schema xmlns:xsd="http://www.w3.org/2001/XMLSchema" xmlns:xs="http://www.w3.org/2001/XMLSchema" xmlns:p="http://schemas.microsoft.com/office/2006/metadata/properties" xmlns:ns3="21d17dcb-5c9d-4e46-9aef-4af11db5eeef" xmlns:ns4="663c78d0-832a-429a-a66e-3ce03cce66f0" targetNamespace="http://schemas.microsoft.com/office/2006/metadata/properties" ma:root="true" ma:fieldsID="d2053509c2705f26279b85b62a63cad7" ns3:_="" ns4:_="">
    <xsd:import namespace="21d17dcb-5c9d-4e46-9aef-4af11db5eeef"/>
    <xsd:import namespace="663c78d0-832a-429a-a66e-3ce03cce66f0"/>
    <xsd:element name="properties">
      <xsd:complexType>
        <xsd:sequence>
          <xsd:element name="documentManagement">
            <xsd:complexType>
              <xsd:all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d17dcb-5c9d-4e46-9aef-4af11db5eeef" elementFormDefault="qualified">
    <xsd:import namespace="http://schemas.microsoft.com/office/2006/documentManagement/types"/>
    <xsd:import namespace="http://schemas.microsoft.com/office/infopath/2007/PartnerControls"/>
    <xsd:element name="_activity" ma:index="8" nillable="true" ma:displayName="_activity" ma:hidden="true" ma:internalName="_activity">
      <xsd:simpleType>
        <xsd:restriction base="dms:Note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5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3c78d0-832a-429a-a66e-3ce03cce66f0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1" nillable="true" ma:displayName="共有のヒントのハッシュ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045443-0EB7-47A2-9904-C9FA1C469B71}">
  <ds:schemaRefs>
    <ds:schemaRef ds:uri="http://www.w3.org/XML/1998/namespace"/>
    <ds:schemaRef ds:uri="http://schemas.microsoft.com/office/2006/documentManagement/types"/>
    <ds:schemaRef ds:uri="http://purl.org/dc/dcmitype/"/>
    <ds:schemaRef ds:uri="http://purl.org/dc/elements/1.1/"/>
    <ds:schemaRef ds:uri="21d17dcb-5c9d-4e46-9aef-4af11db5eeef"/>
    <ds:schemaRef ds:uri="http://schemas.microsoft.com/office/infopath/2007/PartnerControls"/>
    <ds:schemaRef ds:uri="http://schemas.openxmlformats.org/package/2006/metadata/core-properties"/>
    <ds:schemaRef ds:uri="663c78d0-832a-429a-a66e-3ce03cce66f0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1555CE8-61FB-403E-9E81-E178E40B32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d17dcb-5c9d-4e46-9aef-4af11db5eeef"/>
    <ds:schemaRef ds:uri="663c78d0-832a-429a-a66e-3ce03cce66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5D29915-0003-4FEE-AF16-2F975AC9E6A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20411_最新_DTテンプレート　【A4版】</Template>
  <TotalTime>11754</TotalTime>
  <Words>125</Words>
  <Application>Microsoft Office PowerPoint</Application>
  <PresentationFormat>A4 210 x 297 mm</PresentationFormat>
  <Paragraphs>49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0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20" baseType="lpstr">
      <vt:lpstr>Meiryo UI</vt:lpstr>
      <vt:lpstr>Yu Gothic UI</vt:lpstr>
      <vt:lpstr>Arial</vt:lpstr>
      <vt:lpstr>Calibri</vt:lpstr>
      <vt:lpstr>Calibri Light</vt:lpstr>
      <vt:lpstr>Verdana</vt:lpstr>
      <vt:lpstr>Wingdings</vt:lpstr>
      <vt:lpstr>Wingdings 2</vt:lpstr>
      <vt:lpstr>DT Template_A4_J_202201</vt:lpstr>
      <vt:lpstr>DT Template_A4_J_202201_補足版</vt:lpstr>
      <vt:lpstr>1_DT Template_A4_J_202201</vt:lpstr>
      <vt:lpstr>2_DT Template_A4_J_202201</vt:lpstr>
      <vt:lpstr>3_DT Template_A4_J_202201</vt:lpstr>
      <vt:lpstr>DT Template_A4_J_202301</vt:lpstr>
      <vt:lpstr>1_DT Template_A4_J_202301</vt:lpstr>
      <vt:lpstr>3_DT Template_A4_J_202301</vt:lpstr>
      <vt:lpstr>4_DT Template_A4_J_202301</vt:lpstr>
      <vt:lpstr>地球局所管事項説明資料</vt:lpstr>
      <vt:lpstr>think-cell スライド</vt:lpstr>
      <vt:lpstr>PowerPoint プレゼンテーション</vt:lpstr>
    </vt:vector>
  </TitlesOfParts>
  <Company>D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Baek, Inchan</dc:creator>
  <cp:lastModifiedBy>松島 基浩（MOTOHIRO MATSUSHIMA）</cp:lastModifiedBy>
  <cp:revision>423</cp:revision>
  <cp:lastPrinted>2024-02-05T06:43:47Z</cp:lastPrinted>
  <dcterms:created xsi:type="dcterms:W3CDTF">2022-04-11T02:09:57Z</dcterms:created>
  <dcterms:modified xsi:type="dcterms:W3CDTF">2024-03-01T04:0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053B52A426F543B8393C8E75B8A2CF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6-10T06:4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45753b9-61e8-4351-aba5-64732c5426f6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